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4.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75.xml" ContentType="application/vnd.openxmlformats-officedocument.drawingml.chart+xml"/>
  <Override PartName="/ppt/charts/style77.xml" ContentType="application/vnd.ms-office.chartstyle+xml"/>
  <Override PartName="/ppt/charts/colors77.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105" d="100"/>
          <a:sy n="105" d="100"/>
        </p:scale>
        <p:origin x="546" y="102"/>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ableStyles" Target="tableStyle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74.46948336601656</c:v>
                </c:pt>
                <c:pt idx="1">
                  <c:v>1371.8295430743267</c:v>
                </c:pt>
                <c:pt idx="2">
                  <c:v>1449.5543508760964</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80.13137899999981</c:v>
                </c:pt>
                <c:pt idx="1">
                  <c:v>309.34312799999998</c:v>
                </c:pt>
                <c:pt idx="2">
                  <c:v>317.62171599999988</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54.6008623660164</c:v>
                </c:pt>
                <c:pt idx="1">
                  <c:v>1681.1726710743267</c:v>
                </c:pt>
                <c:pt idx="2">
                  <c:v>1767.1760668760962</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2.8223263636888</c:v>
                </c:pt>
                <c:pt idx="1">
                  <c:v>232.81869685042307</c:v>
                </c:pt>
                <c:pt idx="2">
                  <c:v>238.0711938289162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1671860000000001</c:v>
                </c:pt>
                <c:pt idx="1">
                  <c:v>63.080159999999999</c:v>
                </c:pt>
                <c:pt idx="2">
                  <c:v>63.611201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8.98951236368879</c:v>
                </c:pt>
                <c:pt idx="1">
                  <c:v>295.89885685042304</c:v>
                </c:pt>
                <c:pt idx="2">
                  <c:v>301.682395828916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70.57942603816554</c:v>
                </c:pt>
                <c:pt idx="1">
                  <c:v>361.17312400588111</c:v>
                </c:pt>
                <c:pt idx="2">
                  <c:v>369.3213559486646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655660141033831</c:v>
                </c:pt>
                <c:pt idx="1">
                  <c:v>97.856653087565036</c:v>
                </c:pt>
                <c:pt idx="2">
                  <c:v>98.68046191698029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80.23508617919936</c:v>
                </c:pt>
                <c:pt idx="1">
                  <c:v>459.02977709344611</c:v>
                </c:pt>
                <c:pt idx="2">
                  <c:v>468.001817865644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369.32135594866463</c:v>
                </c:pt>
                <c:pt idx="2">
                  <c:v>320.26320826292704</c:v>
                </c:pt>
                <c:pt idx="3">
                  <c:v>322.41108850780171</c:v>
                </c:pt>
                <c:pt idx="4">
                  <c:v>208.67622301325264</c:v>
                </c:pt>
                <c:pt idx="5">
                  <c:v>226.7623097892787</c:v>
                </c:pt>
                <c:pt idx="7">
                  <c:v>269.52820739331503</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98.680461916980292</c:v>
                </c:pt>
                <c:pt idx="2">
                  <c:v>95.144437027850657</c:v>
                </c:pt>
                <c:pt idx="3">
                  <c:v>101.50293696731617</c:v>
                </c:pt>
                <c:pt idx="4">
                  <c:v>67.061300890422999</c:v>
                </c:pt>
                <c:pt idx="5">
                  <c:v>163.37783735246632</c:v>
                </c:pt>
                <c:pt idx="7">
                  <c:v>106.77162805951404</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468.00181786564497</c:v>
                </c:pt>
                <c:pt idx="2">
                  <c:v>415.40764529077768</c:v>
                </c:pt>
                <c:pt idx="3">
                  <c:v>423.91402547511785</c:v>
                </c:pt>
                <c:pt idx="4">
                  <c:v>275.73752390367565</c:v>
                </c:pt>
                <c:pt idx="5">
                  <c:v>390.14014714174499</c:v>
                </c:pt>
                <c:pt idx="7">
                  <c:v>376.29983545282909</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78.98951236368879</c:v>
                </c:pt>
                <c:pt idx="2">
                  <c:v>232.96310302186566</c:v>
                </c:pt>
                <c:pt idx="3">
                  <c:v>233.38021579827361</c:v>
                </c:pt>
                <c:pt idx="4">
                  <c:v>238.98588285042305</c:v>
                </c:pt>
                <c:pt idx="6">
                  <c:v>289.73883671194244</c:v>
                </c:pt>
                <c:pt idx="7">
                  <c:v>289.73883671194244</c:v>
                </c:pt>
                <c:pt idx="8">
                  <c:v>290.45920581401077</c:v>
                </c:pt>
                <c:pt idx="9">
                  <c:v>301.1513538289162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72.8223263636888</c:v>
                </c:pt>
                <c:pt idx="5">
                  <c:v>232.81869685042307</c:v>
                </c:pt>
                <c:pt idx="10">
                  <c:v>238.0711938289162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53.973590658176889</c:v>
                </c:pt>
                <c:pt idx="2">
                  <c:v>0.41711277640794625</c:v>
                </c:pt>
                <c:pt idx="3">
                  <c:v>5.6056670521494301</c:v>
                </c:pt>
                <c:pt idx="7">
                  <c:v>0.72036910206834304</c:v>
                </c:pt>
                <c:pt idx="8">
                  <c:v>10.69214801490546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6.160020138480598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1671860000000001</c:v>
                </c:pt>
                <c:pt idx="5">
                  <c:v>63.080159999999999</c:v>
                </c:pt>
                <c:pt idx="10">
                  <c:v>63.611201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56.912973999999998</c:v>
                </c:pt>
                <c:pt idx="9">
                  <c:v>0.53104199999999935</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78.98951236368879</c:v>
                </c:pt>
                <c:pt idx="5">
                  <c:v>295.89885685042304</c:v>
                </c:pt>
                <c:pt idx="10">
                  <c:v>301.682395828916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Re-integratie klassiek</c:v>
                </c:pt>
                <c:pt idx="2">
                  <c:v>Huishoudens met laag inkomen (drempel)</c:v>
                </c:pt>
                <c:pt idx="3">
                  <c:v>Klantenpotentieel regionaal</c:v>
                </c:pt>
                <c:pt idx="4">
                  <c:v>Inwoners</c:v>
                </c:pt>
                <c:pt idx="5">
                  <c:v>Omgevingsadressendichtheid</c:v>
                </c:pt>
                <c:pt idx="6">
                  <c:v>Eenpersoonshuishoudens</c:v>
                </c:pt>
                <c:pt idx="7">
                  <c:v>Loonkostensubsidie</c:v>
                </c:pt>
                <c:pt idx="10">
                  <c:v>Overig</c:v>
                </c:pt>
              </c:strCache>
            </c:strRef>
          </c:cat>
          <c:val>
            <c:numRef>
              <c:f>Sheet1!$B$2:$B$12</c:f>
              <c:numCache>
                <c:formatCode>General</c:formatCode>
                <c:ptCount val="11"/>
                <c:pt idx="0">
                  <c:v>110.95581444479998</c:v>
                </c:pt>
                <c:pt idx="1">
                  <c:v>58.987751059482967</c:v>
                </c:pt>
                <c:pt idx="2">
                  <c:v>26.806584959232005</c:v>
                </c:pt>
                <c:pt idx="3">
                  <c:v>20.099920640800001</c:v>
                </c:pt>
                <c:pt idx="4">
                  <c:v>7.9596914945600004</c:v>
                </c:pt>
                <c:pt idx="5">
                  <c:v>6.7159423866412817</c:v>
                </c:pt>
                <c:pt idx="6">
                  <c:v>5.4145718827199998</c:v>
                </c:pt>
                <c:pt idx="7">
                  <c:v>1.13091696068</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2.667783511038394</c:v>
                </c:pt>
                <c:pt idx="1">
                  <c:v>34.203957514653858</c:v>
                </c:pt>
                <c:pt idx="2">
                  <c:v>37.30351779986832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58665</c:v>
                </c:pt>
                <c:pt idx="1">
                  <c:v>0</c:v>
                </c:pt>
                <c:pt idx="2">
                  <c:v>2.23483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826448511038393</c:v>
                </c:pt>
                <c:pt idx="1">
                  <c:v>34.203957514653858</c:v>
                </c:pt>
                <c:pt idx="2">
                  <c:v>39.53835679986832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1.1463437528</c:v>
                </c:pt>
                <c:pt idx="1">
                  <c:v>53.06081666142407</c:v>
                </c:pt>
                <c:pt idx="2">
                  <c:v>57.86918422983584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24841399566627839</c:v>
                </c:pt>
                <c:pt idx="1">
                  <c:v>0</c:v>
                </c:pt>
                <c:pt idx="2">
                  <c:v>3.466919943284239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1.394757748466276</c:v>
                </c:pt>
                <c:pt idx="1">
                  <c:v>53.06081666142407</c:v>
                </c:pt>
                <c:pt idx="2">
                  <c:v>61.33610417312008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57.869184229835845</c:v>
                </c:pt>
                <c:pt idx="2">
                  <c:v>55.45901822239037</c:v>
                </c:pt>
                <c:pt idx="3">
                  <c:v>57.508034966673662</c:v>
                </c:pt>
                <c:pt idx="4">
                  <c:v>42.942667409490518</c:v>
                </c:pt>
                <c:pt idx="5">
                  <c:v>40.76027262706625</c:v>
                </c:pt>
                <c:pt idx="7">
                  <c:v>49.1674983064052</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3.4669199432842395</c:v>
                </c:pt>
                <c:pt idx="2">
                  <c:v>1.5064322940392278</c:v>
                </c:pt>
                <c:pt idx="3">
                  <c:v>6.2932308958068983</c:v>
                </c:pt>
                <c:pt idx="4">
                  <c:v>9.2797124120771066</c:v>
                </c:pt>
                <c:pt idx="5">
                  <c:v>8.5421426166239289</c:v>
                </c:pt>
                <c:pt idx="7">
                  <c:v>6.4053795546367898</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61.336104173120084</c:v>
                </c:pt>
                <c:pt idx="2">
                  <c:v>56.965450516429598</c:v>
                </c:pt>
                <c:pt idx="3">
                  <c:v>63.801265862480562</c:v>
                </c:pt>
                <c:pt idx="4">
                  <c:v>52.222379821567621</c:v>
                </c:pt>
                <c:pt idx="5">
                  <c:v>49.302415243690177</c:v>
                </c:pt>
                <c:pt idx="7">
                  <c:v>55.572877861041988</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2.765151642358617</c:v>
                </c:pt>
                <c:pt idx="2">
                  <c:v>32.765151642358617</c:v>
                </c:pt>
                <c:pt idx="3">
                  <c:v>33.858037230010282</c:v>
                </c:pt>
                <c:pt idx="4">
                  <c:v>34.203957514653858</c:v>
                </c:pt>
                <c:pt idx="6">
                  <c:v>34.073133705877844</c:v>
                </c:pt>
                <c:pt idx="7">
                  <c:v>34.073133705877844</c:v>
                </c:pt>
                <c:pt idx="8">
                  <c:v>35.601036776544753</c:v>
                </c:pt>
                <c:pt idx="9">
                  <c:v>37.30351779986832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2.667783511038394</c:v>
                </c:pt>
                <c:pt idx="5">
                  <c:v>34.203957514653858</c:v>
                </c:pt>
                <c:pt idx="10">
                  <c:v>37.30351779986832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092885587651663</c:v>
                </c:pt>
                <c:pt idx="3">
                  <c:v>0.50458528464357599</c:v>
                </c:pt>
                <c:pt idx="7">
                  <c:v>1.527903070666909</c:v>
                </c:pt>
                <c:pt idx="8">
                  <c:v>1.702481023323569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1296868679774637E-2</c:v>
                </c:pt>
                <c:pt idx="6">
                  <c:v>0.13082380877601299</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58665</c:v>
                </c:pt>
                <c:pt idx="5">
                  <c:v>0</c:v>
                </c:pt>
                <c:pt idx="10">
                  <c:v>2.23483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23483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0.158665</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2.826448511038393</c:v>
                </c:pt>
                <c:pt idx="5">
                  <c:v>34.203957514653858</c:v>
                </c:pt>
                <c:pt idx="10">
                  <c:v>39.53835679986832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25.6789967403408</c:v>
                </c:pt>
                <c:pt idx="1">
                  <c:v>2128.1278882599099</c:v>
                </c:pt>
                <c:pt idx="2">
                  <c:v>2248.7028765502923</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64.848286864815</c:v>
                </c:pt>
                <c:pt idx="1">
                  <c:v>479.88596036722527</c:v>
                </c:pt>
                <c:pt idx="2">
                  <c:v>492.72858654272744</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90.5272836051558</c:v>
                </c:pt>
                <c:pt idx="1">
                  <c:v>2608.0138486271353</c:v>
                </c:pt>
                <c:pt idx="2">
                  <c:v>2741.431463093019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inderheden</c:v>
                </c:pt>
                <c:pt idx="1">
                  <c:v>Omgevingsadressendichtheid</c:v>
                </c:pt>
                <c:pt idx="2">
                  <c:v>Huishoudens met laag inkomen (drempel)</c:v>
                </c:pt>
                <c:pt idx="3">
                  <c:v>Jongeren</c:v>
                </c:pt>
                <c:pt idx="4">
                  <c:v>Inwoners</c:v>
                </c:pt>
                <c:pt idx="5">
                  <c:v>Bijstandsontvangers</c:v>
                </c:pt>
                <c:pt idx="6">
                  <c:v>Klantenpotentieel regionaal</c:v>
                </c:pt>
                <c:pt idx="7">
                  <c:v>Eenouderhuishoudens</c:v>
                </c:pt>
                <c:pt idx="8">
                  <c:v>Huishoudens</c:v>
                </c:pt>
                <c:pt idx="9">
                  <c:v>Uitkeringsontvangers</c:v>
                </c:pt>
                <c:pt idx="10">
                  <c:v>Overig</c:v>
                </c:pt>
              </c:strCache>
            </c:strRef>
          </c:cat>
          <c:val>
            <c:numRef>
              <c:f>Sheet1!$B$2:$B$12</c:f>
              <c:numCache>
                <c:formatCode>General</c:formatCode>
                <c:ptCount val="11"/>
                <c:pt idx="0">
                  <c:v>10.04761615</c:v>
                </c:pt>
                <c:pt idx="1">
                  <c:v>4.788218183068321</c:v>
                </c:pt>
                <c:pt idx="2">
                  <c:v>4.3361873357920002</c:v>
                </c:pt>
                <c:pt idx="3">
                  <c:v>3.4394753951999997</c:v>
                </c:pt>
                <c:pt idx="4">
                  <c:v>3.0861989215200003</c:v>
                </c:pt>
                <c:pt idx="5">
                  <c:v>3.0306302832000003</c:v>
                </c:pt>
                <c:pt idx="6">
                  <c:v>3.0068926160000005</c:v>
                </c:pt>
                <c:pt idx="7">
                  <c:v>2.3606837280000001</c:v>
                </c:pt>
                <c:pt idx="8">
                  <c:v>0.96975244080000012</c:v>
                </c:pt>
                <c:pt idx="9">
                  <c:v>0.77832666703999998</c:v>
                </c:pt>
                <c:pt idx="10">
                  <c:v>1.459536079248003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6.682430830815207</c:v>
                </c:pt>
                <c:pt idx="1">
                  <c:v>218.79424048635386</c:v>
                </c:pt>
                <c:pt idx="2">
                  <c:v>223.072471295574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4073130000000003</c:v>
                </c:pt>
                <c:pt idx="1">
                  <c:v>39.863328000000003</c:v>
                </c:pt>
                <c:pt idx="2">
                  <c:v>44.773395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1.089743830815209</c:v>
                </c:pt>
                <c:pt idx="1">
                  <c:v>258.65756848635385</c:v>
                </c:pt>
                <c:pt idx="2">
                  <c:v>267.845867295574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36.04790543072937</c:v>
                </c:pt>
                <c:pt idx="1">
                  <c:v>1777.081225522692</c:v>
                </c:pt>
                <c:pt idx="2">
                  <c:v>1811.829688885429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1.726460594891876</c:v>
                </c:pt>
                <c:pt idx="1">
                  <c:v>323.77621832358676</c:v>
                </c:pt>
                <c:pt idx="2">
                  <c:v>363.6565627030539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67.7743660256213</c:v>
                </c:pt>
                <c:pt idx="1">
                  <c:v>2100.8574438462788</c:v>
                </c:pt>
                <c:pt idx="2">
                  <c:v>2175.486251588483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1811.8296888854295</c:v>
                </c:pt>
                <c:pt idx="2">
                  <c:v>1608.7333716021064</c:v>
                </c:pt>
                <c:pt idx="3">
                  <c:v>1653.6632123888705</c:v>
                </c:pt>
                <c:pt idx="4">
                  <c:v>1309.2521206716606</c:v>
                </c:pt>
                <c:pt idx="5">
                  <c:v>1499.720490601866</c:v>
                </c:pt>
                <c:pt idx="7">
                  <c:v>1517.8422988161258</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363.65656270305391</c:v>
                </c:pt>
                <c:pt idx="2">
                  <c:v>204.58571142758407</c:v>
                </c:pt>
                <c:pt idx="3">
                  <c:v>263.2976381037289</c:v>
                </c:pt>
                <c:pt idx="4">
                  <c:v>225.44994854790761</c:v>
                </c:pt>
                <c:pt idx="5">
                  <c:v>302.11367004043501</c:v>
                </c:pt>
                <c:pt idx="7">
                  <c:v>248.8617420299139</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2175.4862515884834</c:v>
                </c:pt>
                <c:pt idx="2">
                  <c:v>1813.3190830296905</c:v>
                </c:pt>
                <c:pt idx="3">
                  <c:v>1916.9608504925998</c:v>
                </c:pt>
                <c:pt idx="4">
                  <c:v>1534.7020692195681</c:v>
                </c:pt>
                <c:pt idx="5">
                  <c:v>1801.834160642301</c:v>
                </c:pt>
                <c:pt idx="7">
                  <c:v>1766.7040408460398</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9.54250296666882</c:v>
                </c:pt>
                <c:pt idx="2">
                  <c:v>49.54250296666882</c:v>
                </c:pt>
                <c:pt idx="3">
                  <c:v>223.2015514707418</c:v>
                </c:pt>
                <c:pt idx="4">
                  <c:v>223.20155348635387</c:v>
                </c:pt>
                <c:pt idx="6">
                  <c:v>258.65756848635391</c:v>
                </c:pt>
                <c:pt idx="7">
                  <c:v>259.7909032845028</c:v>
                </c:pt>
                <c:pt idx="8">
                  <c:v>262.9357992955741</c:v>
                </c:pt>
                <c:pt idx="9">
                  <c:v>262.935799295574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6.682430830815207</c:v>
                </c:pt>
                <c:pt idx="5">
                  <c:v>218.79424048635389</c:v>
                </c:pt>
                <c:pt idx="10">
                  <c:v>223.072471295574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73.65904850407298</c:v>
                </c:pt>
                <c:pt idx="3">
                  <c:v>2.0156120770315303E-6</c:v>
                </c:pt>
                <c:pt idx="6">
                  <c:v>1.1333347981489086</c:v>
                </c:pt>
                <c:pt idx="7">
                  <c:v>3.144903445425847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5472408641463875</c:v>
                </c:pt>
                <c:pt idx="8">
                  <c:v>7.4343545373882715E-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4073130000000003</c:v>
                </c:pt>
                <c:pt idx="5">
                  <c:v>39.863328000000003</c:v>
                </c:pt>
                <c:pt idx="10">
                  <c:v>44.773395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5.456015000000001</c:v>
                </c:pt>
                <c:pt idx="9">
                  <c:v>4.910067999999995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1.089743830815209</c:v>
                </c:pt>
                <c:pt idx="5">
                  <c:v>258.65756848635391</c:v>
                </c:pt>
                <c:pt idx="10">
                  <c:v>267.8458672955741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vangers minus bijstandsontvangers</c:v>
                </c:pt>
                <c:pt idx="2">
                  <c:v>Eenouderhuishoudens</c:v>
                </c:pt>
                <c:pt idx="3">
                  <c:v>Gemiddeld gestandaardiseerd inkomen (huishoudens)</c:v>
                </c:pt>
                <c:pt idx="4">
                  <c:v>Gemiddeld gestandaardiseerd inkomen (huishoudens met kinderen)</c:v>
                </c:pt>
                <c:pt idx="5">
                  <c:v>Bijstandsontvangers eenouderhuishoudens</c:v>
                </c:pt>
                <c:pt idx="6">
                  <c:v>Eenouderhuishoudens met 2 of meer kinderen</c:v>
                </c:pt>
                <c:pt idx="7">
                  <c:v>Ouders met langdurig psychisch medicijngebruik</c:v>
                </c:pt>
                <c:pt idx="8">
                  <c:v>Basisonderwijsleerlingen met leerlingengewicht 1,2</c:v>
                </c:pt>
                <c:pt idx="9">
                  <c:v>Minderheden</c:v>
                </c:pt>
                <c:pt idx="10">
                  <c:v>Overig</c:v>
                </c:pt>
              </c:strCache>
            </c:strRef>
          </c:cat>
          <c:val>
            <c:numRef>
              <c:f>Sheet1!$B$2:$B$12</c:f>
              <c:numCache>
                <c:formatCode>General</c:formatCode>
                <c:ptCount val="11"/>
                <c:pt idx="0">
                  <c:v>101.2253684832</c:v>
                </c:pt>
                <c:pt idx="1">
                  <c:v>40.341523572480007</c:v>
                </c:pt>
                <c:pt idx="2">
                  <c:v>37.464965928000005</c:v>
                </c:pt>
                <c:pt idx="3">
                  <c:v>-34.454274275491201</c:v>
                </c:pt>
                <c:pt idx="4">
                  <c:v>-27.876870989676799</c:v>
                </c:pt>
                <c:pt idx="5">
                  <c:v>27.747656315600093</c:v>
                </c:pt>
                <c:pt idx="6">
                  <c:v>27.196404512160001</c:v>
                </c:pt>
                <c:pt idx="7">
                  <c:v>23.625729704924645</c:v>
                </c:pt>
                <c:pt idx="8">
                  <c:v>-21.523155263480003</c:v>
                </c:pt>
                <c:pt idx="9">
                  <c:v>20.830002050000004</c:v>
                </c:pt>
                <c:pt idx="10">
                  <c:v>-194.5771269652454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9.65330923583559</c:v>
                </c:pt>
                <c:pt idx="1">
                  <c:v>272.91079233675765</c:v>
                </c:pt>
                <c:pt idx="2">
                  <c:v>289.2478231507007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6.000063</c:v>
                </c:pt>
                <c:pt idx="1">
                  <c:v>172.068939</c:v>
                </c:pt>
                <c:pt idx="2">
                  <c:v>181.285548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5.6533722358356</c:v>
                </c:pt>
                <c:pt idx="1">
                  <c:v>444.97973133675765</c:v>
                </c:pt>
                <c:pt idx="2">
                  <c:v>470.5333711507007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2.99181671212628</c:v>
                </c:pt>
                <c:pt idx="1">
                  <c:v>423.36824652237084</c:v>
                </c:pt>
                <c:pt idx="2">
                  <c:v>448.7119862472049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65.95909110835558</c:v>
                </c:pt>
                <c:pt idx="1">
                  <c:v>266.93163858285061</c:v>
                </c:pt>
                <c:pt idx="2">
                  <c:v>281.2294226968530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68.95090782048186</c:v>
                </c:pt>
                <c:pt idx="1">
                  <c:v>690.29988510522151</c:v>
                </c:pt>
                <c:pt idx="2">
                  <c:v>729.941408944057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1.517688730394761</c:v>
                </c:pt>
                <c:pt idx="1">
                  <c:v>1.4584920546936282</c:v>
                </c:pt>
                <c:pt idx="2">
                  <c:v>1.4690066035135052</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1.517688730394761</c:v>
                </c:pt>
                <c:pt idx="1">
                  <c:v>1.4584920546936282</c:v>
                </c:pt>
                <c:pt idx="2">
                  <c:v>1.4690066035135052</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448.71198624720495</c:v>
                </c:pt>
                <c:pt idx="2">
                  <c:v>407.33414700363858</c:v>
                </c:pt>
                <c:pt idx="3">
                  <c:v>375.04752621248855</c:v>
                </c:pt>
                <c:pt idx="4">
                  <c:v>322.65737362912444</c:v>
                </c:pt>
                <c:pt idx="5">
                  <c:v>411.99660321526795</c:v>
                </c:pt>
                <c:pt idx="7">
                  <c:v>379.25891251512985</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281.22942269685302</c:v>
                </c:pt>
                <c:pt idx="2">
                  <c:v>251.54005797338579</c:v>
                </c:pt>
                <c:pt idx="3">
                  <c:v>268.14192580232105</c:v>
                </c:pt>
                <c:pt idx="4">
                  <c:v>388.35344861788894</c:v>
                </c:pt>
                <c:pt idx="5">
                  <c:v>308.81609984372437</c:v>
                </c:pt>
                <c:pt idx="7">
                  <c:v>304.21288305933001</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729.94140894405791</c:v>
                </c:pt>
                <c:pt idx="2">
                  <c:v>658.87420497702442</c:v>
                </c:pt>
                <c:pt idx="3">
                  <c:v>643.18945201480972</c:v>
                </c:pt>
                <c:pt idx="4">
                  <c:v>711.01082224701338</c:v>
                </c:pt>
                <c:pt idx="5">
                  <c:v>720.81270305899227</c:v>
                </c:pt>
                <c:pt idx="7">
                  <c:v>683.47179557445997</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35.6533722358356</c:v>
                </c:pt>
                <c:pt idx="2">
                  <c:v>239.65644925360846</c:v>
                </c:pt>
                <c:pt idx="3">
                  <c:v>378.91083269650608</c:v>
                </c:pt>
                <c:pt idx="4">
                  <c:v>378.91085533675766</c:v>
                </c:pt>
                <c:pt idx="6">
                  <c:v>444.97973133675771</c:v>
                </c:pt>
                <c:pt idx="7">
                  <c:v>459.07325544392307</c:v>
                </c:pt>
                <c:pt idx="8">
                  <c:v>461.31668642503951</c:v>
                </c:pt>
                <c:pt idx="9">
                  <c:v>461.3167621507007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29.65330923583559</c:v>
                </c:pt>
                <c:pt idx="5">
                  <c:v>272.91079233675771</c:v>
                </c:pt>
                <c:pt idx="10">
                  <c:v>289.2478231507008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4.003077017772867</c:v>
                </c:pt>
                <c:pt idx="2">
                  <c:v>139.25438344289759</c:v>
                </c:pt>
                <c:pt idx="3">
                  <c:v>2.2640251609344623E-5</c:v>
                </c:pt>
                <c:pt idx="6">
                  <c:v>14.093524107165383</c:v>
                </c:pt>
                <c:pt idx="7">
                  <c:v>2.2434309811164534</c:v>
                </c:pt>
                <c:pt idx="8">
                  <c:v>7.5725661264238608E-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06.000063</c:v>
                </c:pt>
                <c:pt idx="5">
                  <c:v>172.068939</c:v>
                </c:pt>
                <c:pt idx="10">
                  <c:v>181.285548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66.068876000000003</c:v>
                </c:pt>
                <c:pt idx="9">
                  <c:v>9.216609000000005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35.6533722358356</c:v>
                </c:pt>
                <c:pt idx="5">
                  <c:v>444.97973133675771</c:v>
                </c:pt>
                <c:pt idx="10">
                  <c:v>470.5333711507008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Huishoudens met laag inkomen (drempel)</c:v>
                </c:pt>
                <c:pt idx="2">
                  <c:v>Inwoners</c:v>
                </c:pt>
                <c:pt idx="3">
                  <c:v>Minderheden</c:v>
                </c:pt>
                <c:pt idx="4">
                  <c:v>Ouderen</c:v>
                </c:pt>
                <c:pt idx="5">
                  <c:v>Klantenpotentieel regionaal</c:v>
                </c:pt>
                <c:pt idx="6">
                  <c:v>Wajong</c:v>
                </c:pt>
                <c:pt idx="7">
                  <c:v>Klantenpotentieel lokaal</c:v>
                </c:pt>
                <c:pt idx="8">
                  <c:v>Huishoudens</c:v>
                </c:pt>
                <c:pt idx="9">
                  <c:v>Gemiddeld gestandaardiseerd inkomen 75 t/m 84 jaar</c:v>
                </c:pt>
                <c:pt idx="10">
                  <c:v>Overig</c:v>
                </c:pt>
              </c:strCache>
            </c:strRef>
          </c:cat>
          <c:val>
            <c:numRef>
              <c:f>Sheet1!$B$2:$B$12</c:f>
              <c:numCache>
                <c:formatCode>General</c:formatCode>
                <c:ptCount val="11"/>
                <c:pt idx="0">
                  <c:v>54.38373212752829</c:v>
                </c:pt>
                <c:pt idx="1">
                  <c:v>52.110270194528006</c:v>
                </c:pt>
                <c:pt idx="2">
                  <c:v>35.278267133200004</c:v>
                </c:pt>
                <c:pt idx="3">
                  <c:v>16.934281650000003</c:v>
                </c:pt>
                <c:pt idx="4">
                  <c:v>15.61764423492</c:v>
                </c:pt>
                <c:pt idx="5">
                  <c:v>11.935050691200001</c:v>
                </c:pt>
                <c:pt idx="6">
                  <c:v>11.788685862720001</c:v>
                </c:pt>
                <c:pt idx="7">
                  <c:v>10.168654781999999</c:v>
                </c:pt>
                <c:pt idx="8">
                  <c:v>9.4550862978000012</c:v>
                </c:pt>
                <c:pt idx="9">
                  <c:v>9.3115818186945862</c:v>
                </c:pt>
                <c:pt idx="10">
                  <c:v>-226.9829655447677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3.07927952795622</c:v>
                </c:pt>
                <c:pt idx="1">
                  <c:v>117.2517675226751</c:v>
                </c:pt>
                <c:pt idx="2">
                  <c:v>123.066607197186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16569</c:v>
                </c:pt>
                <c:pt idx="1">
                  <c:v>1.416569</c:v>
                </c:pt>
                <c:pt idx="2">
                  <c:v>2.703914000000000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4.49584852795621</c:v>
                </c:pt>
                <c:pt idx="1">
                  <c:v>118.66833652267509</c:v>
                </c:pt>
                <c:pt idx="2">
                  <c:v>125.770521197186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14.01191747499365</c:v>
                </c:pt>
                <c:pt idx="1">
                  <c:v>952.33729306916098</c:v>
                </c:pt>
                <c:pt idx="2">
                  <c:v>999.5663352597955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19730628581301</c:v>
                </c:pt>
                <c:pt idx="1">
                  <c:v>11.50559616634178</c:v>
                </c:pt>
                <c:pt idx="2">
                  <c:v>21.96161468486029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24.20922376080671</c:v>
                </c:pt>
                <c:pt idx="1">
                  <c:v>963.84288923550275</c:v>
                </c:pt>
                <c:pt idx="2">
                  <c:v>1021.527949944655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999.56633525979555</c:v>
                </c:pt>
                <c:pt idx="2">
                  <c:v>875.81275585096387</c:v>
                </c:pt>
                <c:pt idx="3">
                  <c:v>938.2668535560324</c:v>
                </c:pt>
                <c:pt idx="4">
                  <c:v>685.36205153922754</c:v>
                </c:pt>
                <c:pt idx="5">
                  <c:v>677.47737063688101</c:v>
                </c:pt>
                <c:pt idx="7">
                  <c:v>794.22975789577617</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21.961614684860297</c:v>
                </c:pt>
                <c:pt idx="2">
                  <c:v>20.642185482257506</c:v>
                </c:pt>
                <c:pt idx="3">
                  <c:v>19.50733153675224</c:v>
                </c:pt>
                <c:pt idx="4">
                  <c:v>24.810627715527097</c:v>
                </c:pt>
                <c:pt idx="5">
                  <c:v>12.450435743526635</c:v>
                </c:pt>
                <c:pt idx="7">
                  <c:v>19.35264511951587</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1021.5279499446557</c:v>
                </c:pt>
                <c:pt idx="2">
                  <c:v>896.45494133322143</c:v>
                </c:pt>
                <c:pt idx="3">
                  <c:v>957.77418509278471</c:v>
                </c:pt>
                <c:pt idx="4">
                  <c:v>710.1726792547546</c:v>
                </c:pt>
                <c:pt idx="5">
                  <c:v>689.92780638040767</c:v>
                </c:pt>
                <c:pt idx="7">
                  <c:v>813.58240301529213</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2.1813883642743</c:v>
                </c:pt>
                <c:pt idx="2">
                  <c:v>102.1813883642743</c:v>
                </c:pt>
                <c:pt idx="3">
                  <c:v>118.66832256119135</c:v>
                </c:pt>
                <c:pt idx="4">
                  <c:v>118.66833652267511</c:v>
                </c:pt>
                <c:pt idx="6">
                  <c:v>118.66833652267511</c:v>
                </c:pt>
                <c:pt idx="7">
                  <c:v>124.48280255918385</c:v>
                </c:pt>
                <c:pt idx="8">
                  <c:v>124.48280255918385</c:v>
                </c:pt>
                <c:pt idx="9">
                  <c:v>124.4831761971860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13.07927952795622</c:v>
                </c:pt>
                <c:pt idx="5">
                  <c:v>117.25176752267511</c:v>
                </c:pt>
                <c:pt idx="10">
                  <c:v>123.066607197186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6.486934196917044</c:v>
                </c:pt>
                <c:pt idx="3">
                  <c:v>1.396148375433594E-5</c:v>
                </c:pt>
                <c:pt idx="6">
                  <c:v>5.8144660365087519</c:v>
                </c:pt>
                <c:pt idx="8">
                  <c:v>3.7363800216953823E-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2.3144601636819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416569</c:v>
                </c:pt>
                <c:pt idx="5">
                  <c:v>1.416569</c:v>
                </c:pt>
                <c:pt idx="10">
                  <c:v>2.703914000000000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287345000000000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14.49584852795621</c:v>
                </c:pt>
                <c:pt idx="5">
                  <c:v>118.66833652267511</c:v>
                </c:pt>
                <c:pt idx="10">
                  <c:v>125.770521197186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Achterstandsleerlingen (drempel)</c:v>
                </c:pt>
                <c:pt idx="2">
                  <c:v>Minderheden (drempel)</c:v>
                </c:pt>
                <c:pt idx="3">
                  <c:v>Leerlingen VO</c:v>
                </c:pt>
                <c:pt idx="4">
                  <c:v>Minderheden</c:v>
                </c:pt>
                <c:pt idx="5">
                  <c:v>Leerlingen (V)SO</c:v>
                </c:pt>
                <c:pt idx="6">
                  <c:v>Huishoudens met laag inkomen (drempel)  </c:v>
                </c:pt>
                <c:pt idx="7">
                  <c:v>Omgevingsadressendichtheid</c:v>
                </c:pt>
                <c:pt idx="8">
                  <c:v>Inwoners</c:v>
                </c:pt>
                <c:pt idx="9">
                  <c:v>Land</c:v>
                </c:pt>
                <c:pt idx="10">
                  <c:v>Overig</c:v>
                </c:pt>
              </c:strCache>
            </c:strRef>
          </c:cat>
          <c:val>
            <c:numRef>
              <c:f>Sheet1!$B$2:$B$12</c:f>
              <c:numCache>
                <c:formatCode>General</c:formatCode>
                <c:ptCount val="11"/>
                <c:pt idx="0">
                  <c:v>36.240519744000004</c:v>
                </c:pt>
                <c:pt idx="1">
                  <c:v>18.233808789299999</c:v>
                </c:pt>
                <c:pt idx="2">
                  <c:v>17.478469321248003</c:v>
                </c:pt>
                <c:pt idx="3">
                  <c:v>15.879258787392001</c:v>
                </c:pt>
                <c:pt idx="4">
                  <c:v>13.93181075</c:v>
                </c:pt>
                <c:pt idx="5">
                  <c:v>7.5487953198760955</c:v>
                </c:pt>
                <c:pt idx="6">
                  <c:v>6.0978548137520008</c:v>
                </c:pt>
                <c:pt idx="7">
                  <c:v>5.9282701314179205</c:v>
                </c:pt>
                <c:pt idx="8">
                  <c:v>1.0806891846400002</c:v>
                </c:pt>
                <c:pt idx="9">
                  <c:v>0.30211559144</c:v>
                </c:pt>
                <c:pt idx="10">
                  <c:v>-122.7214693664588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8.1603974832</c:v>
                </c:pt>
                <c:pt idx="1">
                  <c:v>-126.05232580212</c:v>
                </c:pt>
                <c:pt idx="2">
                  <c:v>-117.1940909113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8.1603974832</c:v>
                </c:pt>
                <c:pt idx="1">
                  <c:v>-126.05232580212</c:v>
                </c:pt>
                <c:pt idx="2">
                  <c:v>-117.1940909113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4026926894127989</c:v>
                </c:pt>
                <c:pt idx="1">
                  <c:v>9.8439660997829321</c:v>
                </c:pt>
                <c:pt idx="2">
                  <c:v>10.29108136431232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9497329999999999</c:v>
                </c:pt>
                <c:pt idx="1">
                  <c:v>2.2407379999999999</c:v>
                </c:pt>
                <c:pt idx="2">
                  <c:v>2.240737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352425689412799</c:v>
                </c:pt>
                <c:pt idx="1">
                  <c:v>12.084704099782932</c:v>
                </c:pt>
                <c:pt idx="2">
                  <c:v>12.53181936431232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155683139525793</c:v>
                </c:pt>
                <c:pt idx="1">
                  <c:v>15.271007169801235</c:v>
                </c:pt>
                <c:pt idx="2">
                  <c:v>15.96461992111967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0526011723593731</c:v>
                </c:pt>
                <c:pt idx="1">
                  <c:v>3.4760710994728661</c:v>
                </c:pt>
                <c:pt idx="2">
                  <c:v>3.476071099472866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208284311885166</c:v>
                </c:pt>
                <c:pt idx="1">
                  <c:v>18.747078269274102</c:v>
                </c:pt>
                <c:pt idx="2">
                  <c:v>19.44069102059254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15.964619921119676</c:v>
                </c:pt>
                <c:pt idx="2">
                  <c:v>15.514566479801132</c:v>
                </c:pt>
                <c:pt idx="3">
                  <c:v>15.688351741938396</c:v>
                </c:pt>
                <c:pt idx="4">
                  <c:v>12.417205362379153</c:v>
                </c:pt>
                <c:pt idx="5">
                  <c:v>11.630320305172983</c:v>
                </c:pt>
                <c:pt idx="7">
                  <c:v>13.812610972322918</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3.4760710994728661</c:v>
                </c:pt>
                <c:pt idx="2">
                  <c:v>1.6380772470264933</c:v>
                </c:pt>
                <c:pt idx="3">
                  <c:v>3.1602255016136227</c:v>
                </c:pt>
                <c:pt idx="4">
                  <c:v>1.5604592111453073</c:v>
                </c:pt>
                <c:pt idx="5">
                  <c:v>1.6154453855518429</c:v>
                </c:pt>
                <c:pt idx="7">
                  <c:v>1.9935518363343165</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19.440691020592542</c:v>
                </c:pt>
                <c:pt idx="2">
                  <c:v>17.152643726827627</c:v>
                </c:pt>
                <c:pt idx="3">
                  <c:v>18.848577243552018</c:v>
                </c:pt>
                <c:pt idx="4">
                  <c:v>13.977664573524462</c:v>
                </c:pt>
                <c:pt idx="5">
                  <c:v>13.245765690724825</c:v>
                </c:pt>
                <c:pt idx="7">
                  <c:v>15.806162808657234</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294291775908555</c:v>
                </c:pt>
                <c:pt idx="2">
                  <c:v>10.294291775908555</c:v>
                </c:pt>
                <c:pt idx="3">
                  <c:v>11.793698804391619</c:v>
                </c:pt>
                <c:pt idx="4">
                  <c:v>11.793699099782931</c:v>
                </c:pt>
                <c:pt idx="6">
                  <c:v>12.084704099782931</c:v>
                </c:pt>
                <c:pt idx="7">
                  <c:v>12.531826142080595</c:v>
                </c:pt>
                <c:pt idx="8">
                  <c:v>12.531819364312321</c:v>
                </c:pt>
                <c:pt idx="9">
                  <c:v>12.53181936431232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8.4026926894127989</c:v>
                </c:pt>
                <c:pt idx="5">
                  <c:v>9.8439660997829304</c:v>
                </c:pt>
                <c:pt idx="10">
                  <c:v>10.29108136431232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499407028483065</c:v>
                </c:pt>
                <c:pt idx="3">
                  <c:v>2.9539131188754239E-7</c:v>
                </c:pt>
                <c:pt idx="6">
                  <c:v>0.4471220422976642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813391350424367E-2</c:v>
                </c:pt>
                <c:pt idx="8">
                  <c:v>6.7777682736907852E-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9497329999999999</c:v>
                </c:pt>
                <c:pt idx="5">
                  <c:v>2.2407379999999999</c:v>
                </c:pt>
                <c:pt idx="10">
                  <c:v>2.240737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29100499999999996</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352425689412799</c:v>
                </c:pt>
                <c:pt idx="5">
                  <c:v>12.084704099782931</c:v>
                </c:pt>
                <c:pt idx="10">
                  <c:v>12.53181936431232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inderheden</c:v>
                </c:pt>
                <c:pt idx="1">
                  <c:v>Jongeren</c:v>
                </c:pt>
                <c:pt idx="2">
                  <c:v>Omgevingsadressendichtheid</c:v>
                </c:pt>
                <c:pt idx="3">
                  <c:v>Huishoudens met laag inkomen (drempel)</c:v>
                </c:pt>
                <c:pt idx="4">
                  <c:v>Inwoners</c:v>
                </c:pt>
                <c:pt idx="5">
                  <c:v>Bijstandsontvangers</c:v>
                </c:pt>
                <c:pt idx="6">
                  <c:v>Klantenpotentieel regionaal</c:v>
                </c:pt>
                <c:pt idx="7">
                  <c:v>Eenouderhuishoudens</c:v>
                </c:pt>
                <c:pt idx="8">
                  <c:v>Huishoudens</c:v>
                </c:pt>
                <c:pt idx="9">
                  <c:v>Uitkeringsontvangers</c:v>
                </c:pt>
                <c:pt idx="10">
                  <c:v>Overig</c:v>
                </c:pt>
              </c:strCache>
            </c:strRef>
          </c:cat>
          <c:val>
            <c:numRef>
              <c:f>Sheet1!$B$2:$B$12</c:f>
              <c:numCache>
                <c:formatCode>General</c:formatCode>
                <c:ptCount val="11"/>
                <c:pt idx="0">
                  <c:v>2.4434696000000002</c:v>
                </c:pt>
                <c:pt idx="1">
                  <c:v>2.03431176</c:v>
                </c:pt>
                <c:pt idx="2">
                  <c:v>1.1607801655923202</c:v>
                </c:pt>
                <c:pt idx="3">
                  <c:v>1.0555385220640001</c:v>
                </c:pt>
                <c:pt idx="4">
                  <c:v>0.80012564632000005</c:v>
                </c:pt>
                <c:pt idx="5">
                  <c:v>0.72160567440000001</c:v>
                </c:pt>
                <c:pt idx="6">
                  <c:v>0.71702823919999992</c:v>
                </c:pt>
                <c:pt idx="7">
                  <c:v>0.57501007200000009</c:v>
                </c:pt>
                <c:pt idx="8">
                  <c:v>0.23705059664</c:v>
                </c:pt>
                <c:pt idx="9">
                  <c:v>0.18862244128000002</c:v>
                </c:pt>
                <c:pt idx="10">
                  <c:v>-9.933532426414952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7.93160326890001</c:v>
                </c:pt>
                <c:pt idx="1">
                  <c:v>164.26724575513998</c:v>
                </c:pt>
                <c:pt idx="2">
                  <c:v>172.25456278264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3060200000000002</c:v>
                </c:pt>
                <c:pt idx="1">
                  <c:v>5.0649610000000003</c:v>
                </c:pt>
                <c:pt idx="2">
                  <c:v>5.157411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2.23762326889999</c:v>
                </c:pt>
                <c:pt idx="1">
                  <c:v>169.33220675513999</c:v>
                </c:pt>
                <c:pt idx="2">
                  <c:v>177.41197478264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267.21959793651433</c:v>
                </c:pt>
                <c:pt idx="2">
                  <c:v>258.45732519090501</c:v>
                </c:pt>
                <c:pt idx="3">
                  <c:v>268.9258505595476</c:v>
                </c:pt>
                <c:pt idx="4">
                  <c:v>249.77801297081615</c:v>
                </c:pt>
                <c:pt idx="5">
                  <c:v>251.29929257388562</c:v>
                </c:pt>
                <c:pt idx="7">
                  <c:v>257.11512032378857</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8.0007260113741783</c:v>
                </c:pt>
                <c:pt idx="2">
                  <c:v>8.082616723034846</c:v>
                </c:pt>
                <c:pt idx="3">
                  <c:v>7.5458784539349804</c:v>
                </c:pt>
                <c:pt idx="4">
                  <c:v>11.607145488655751</c:v>
                </c:pt>
                <c:pt idx="5">
                  <c:v>6.7576130408129789</c:v>
                </c:pt>
                <c:pt idx="7">
                  <c:v>8.4983134266096396</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275.22032394788852</c:v>
                </c:pt>
                <c:pt idx="2">
                  <c:v>266.5399419139398</c:v>
                </c:pt>
                <c:pt idx="3">
                  <c:v>276.47172901348262</c:v>
                </c:pt>
                <c:pt idx="4">
                  <c:v>261.38515845947188</c:v>
                </c:pt>
                <c:pt idx="5">
                  <c:v>258.05690561469856</c:v>
                </c:pt>
                <c:pt idx="7">
                  <c:v>265.6134337503982</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62.23762326889999</c:v>
                </c:pt>
                <c:pt idx="2">
                  <c:v>168.57324170773035</c:v>
                </c:pt>
                <c:pt idx="3">
                  <c:v>168.57324170773035</c:v>
                </c:pt>
                <c:pt idx="4">
                  <c:v>168.57326575513997</c:v>
                </c:pt>
                <c:pt idx="6">
                  <c:v>169.33220675513999</c:v>
                </c:pt>
                <c:pt idx="7">
                  <c:v>177.32189500970534</c:v>
                </c:pt>
                <c:pt idx="8">
                  <c:v>177.31952378264003</c:v>
                </c:pt>
                <c:pt idx="9">
                  <c:v>177.3195237826400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57.93160326890001</c:v>
                </c:pt>
                <c:pt idx="5">
                  <c:v>164.26724575513998</c:v>
                </c:pt>
                <c:pt idx="10">
                  <c:v>172.25456278264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3356184388303589</c:v>
                </c:pt>
                <c:pt idx="3">
                  <c:v>2.4047409618391247E-5</c:v>
                </c:pt>
                <c:pt idx="6">
                  <c:v>7.989688254565344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8">
                  <c:v>2.3712270653031293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3060200000000002</c:v>
                </c:pt>
                <c:pt idx="5">
                  <c:v>5.0649610000000003</c:v>
                </c:pt>
                <c:pt idx="10">
                  <c:v>5.157411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75894100000000009</c:v>
                </c:pt>
                <c:pt idx="9">
                  <c:v>9.2450999999999617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62.23762326889999</c:v>
                </c:pt>
                <c:pt idx="5">
                  <c:v>169.33220675513999</c:v>
                </c:pt>
                <c:pt idx="10">
                  <c:v>177.41197478264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4.99792940041834</c:v>
                </c:pt>
                <c:pt idx="1">
                  <c:v>-195.5457740896469</c:v>
                </c:pt>
                <c:pt idx="2">
                  <c:v>-181.8039380087431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4.99792940041834</c:v>
                </c:pt>
                <c:pt idx="1">
                  <c:v>-195.5457740896469</c:v>
                </c:pt>
                <c:pt idx="2">
                  <c:v>-181.803938008743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Klantenpotentieel regionaal</c:v>
                </c:pt>
                <c:pt idx="4">
                  <c:v>Hist.woningen in bewoonde oorden</c:v>
                </c:pt>
                <c:pt idx="5">
                  <c:v>Opp. historische kernen &lt;40 ha</c:v>
                </c:pt>
                <c:pt idx="6">
                  <c:v>Opp. historische kernen 40-64 ha</c:v>
                </c:pt>
                <c:pt idx="8">
                  <c:v>0</c:v>
                </c:pt>
                <c:pt idx="9">
                  <c:v>0</c:v>
                </c:pt>
                <c:pt idx="10">
                  <c:v>Overig</c:v>
                </c:pt>
              </c:strCache>
            </c:strRef>
          </c:cat>
          <c:val>
            <c:numRef>
              <c:f>Sheet1!$B$2:$B$12</c:f>
              <c:numCache>
                <c:formatCode>General</c:formatCode>
                <c:ptCount val="11"/>
                <c:pt idx="0">
                  <c:v>53.837025630960007</c:v>
                </c:pt>
                <c:pt idx="1">
                  <c:v>40.061907600000005</c:v>
                </c:pt>
                <c:pt idx="2">
                  <c:v>38.148983518360005</c:v>
                </c:pt>
                <c:pt idx="3">
                  <c:v>20.354350016000001</c:v>
                </c:pt>
                <c:pt idx="4">
                  <c:v>19.838938582320001</c:v>
                </c:pt>
                <c:pt idx="5">
                  <c:v>1.3357435000000001E-2</c:v>
                </c:pt>
                <c:pt idx="6">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2.04906700715645</c:v>
                </c:pt>
                <c:pt idx="1">
                  <c:v>199.20641462670827</c:v>
                </c:pt>
                <c:pt idx="2">
                  <c:v>211.69660387548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7.494097</c:v>
                </c:pt>
                <c:pt idx="1">
                  <c:v>11.387176</c:v>
                </c:pt>
                <c:pt idx="2">
                  <c:v>11.22982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9.54316400715646</c:v>
                </c:pt>
                <c:pt idx="1">
                  <c:v>210.59359062670828</c:v>
                </c:pt>
                <c:pt idx="2">
                  <c:v>222.926426875482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00.68178929964751</c:v>
                </c:pt>
                <c:pt idx="1">
                  <c:v>309.03017698343558</c:v>
                </c:pt>
                <c:pt idx="2">
                  <c:v>328.4062869412302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7.389648229561992</c:v>
                </c:pt>
                <c:pt idx="1">
                  <c:v>17.664998495232837</c:v>
                </c:pt>
                <c:pt idx="2">
                  <c:v>17.42089578634167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8.0714375292095</c:v>
                </c:pt>
                <c:pt idx="1">
                  <c:v>326.69517547866843</c:v>
                </c:pt>
                <c:pt idx="2">
                  <c:v>345.827182727572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328.40628694123029</c:v>
                </c:pt>
                <c:pt idx="2">
                  <c:v>353.63544293236947</c:v>
                </c:pt>
                <c:pt idx="3">
                  <c:v>460.57179052731567</c:v>
                </c:pt>
                <c:pt idx="4">
                  <c:v>273.67072731659914</c:v>
                </c:pt>
                <c:pt idx="5">
                  <c:v>260.16326261627955</c:v>
                </c:pt>
                <c:pt idx="7">
                  <c:v>337.01030584814094</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17.420895786341678</c:v>
                </c:pt>
                <c:pt idx="2">
                  <c:v>3.4274542469502616</c:v>
                </c:pt>
                <c:pt idx="3">
                  <c:v>8.9660565608106939</c:v>
                </c:pt>
                <c:pt idx="4">
                  <c:v>16.208793139605401</c:v>
                </c:pt>
                <c:pt idx="5">
                  <c:v>8.1765655623764264</c:v>
                </c:pt>
                <c:pt idx="7">
                  <c:v>9.1947173774356958</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345.82718272757205</c:v>
                </c:pt>
                <c:pt idx="2">
                  <c:v>357.06289717931975</c:v>
                </c:pt>
                <c:pt idx="3">
                  <c:v>469.53784708812634</c:v>
                </c:pt>
                <c:pt idx="4">
                  <c:v>289.87952045620455</c:v>
                </c:pt>
                <c:pt idx="5">
                  <c:v>268.33982817865598</c:v>
                </c:pt>
                <c:pt idx="7">
                  <c:v>346.20502322557667</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09.54316400715646</c:v>
                </c:pt>
                <c:pt idx="2">
                  <c:v>216.70047115995001</c:v>
                </c:pt>
                <c:pt idx="3">
                  <c:v>216.70047115995001</c:v>
                </c:pt>
                <c:pt idx="4">
                  <c:v>210.59359062670831</c:v>
                </c:pt>
                <c:pt idx="6">
                  <c:v>210.59359062670831</c:v>
                </c:pt>
                <c:pt idx="7">
                  <c:v>223.08373407094081</c:v>
                </c:pt>
                <c:pt idx="8">
                  <c:v>223.08373407094081</c:v>
                </c:pt>
                <c:pt idx="9">
                  <c:v>222.926426875482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2.04906700715645</c:v>
                </c:pt>
                <c:pt idx="5">
                  <c:v>199.20641462670829</c:v>
                </c:pt>
                <c:pt idx="10">
                  <c:v>211.696603875482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7.6799153983215538</c:v>
                </c:pt>
                <c:pt idx="3">
                  <c:v>4.0466758279946309E-5</c:v>
                </c:pt>
                <c:pt idx="6">
                  <c:v>15.39906118164703</c:v>
                </c:pt>
                <c:pt idx="8">
                  <c:v>4.5804541231514356E-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0.52260824552801854</c:v>
                </c:pt>
                <c:pt idx="7">
                  <c:v>2.9089177374145287</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7.494097</c:v>
                </c:pt>
                <c:pt idx="5">
                  <c:v>11.387176</c:v>
                </c:pt>
                <c:pt idx="10">
                  <c:v>11.229823</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6.1069209999999998</c:v>
                </c:pt>
                <c:pt idx="9">
                  <c:v>0.1573530000000005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09.54316400715646</c:v>
                </c:pt>
                <c:pt idx="5">
                  <c:v>210.59359062670831</c:v>
                </c:pt>
                <c:pt idx="10">
                  <c:v>222.926426875482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mgevingsadressendichtheid</c:v>
                </c:pt>
                <c:pt idx="1">
                  <c:v>Woonruimten</c:v>
                </c:pt>
                <c:pt idx="2">
                  <c:v>Woonruimten * bodemfactor kern</c:v>
                </c:pt>
                <c:pt idx="3">
                  <c:v>Inwoners</c:v>
                </c:pt>
                <c:pt idx="4">
                  <c:v>Opp. bebouwing kern * bodemfactor kern</c:v>
                </c:pt>
                <c:pt idx="5">
                  <c:v>Bedrijfsvestigingen</c:v>
                </c:pt>
                <c:pt idx="6">
                  <c:v>Oppervlak bebouwing woonkernen</c:v>
                </c:pt>
                <c:pt idx="7">
                  <c:v>Minderheden</c:v>
                </c:pt>
                <c:pt idx="8">
                  <c:v>Omgevingsadressendichtheid (drempel)</c:v>
                </c:pt>
                <c:pt idx="9">
                  <c:v>Oeverlengte * dichtheid * bodemf. gemeente</c:v>
                </c:pt>
                <c:pt idx="10">
                  <c:v>Overig</c:v>
                </c:pt>
              </c:strCache>
            </c:strRef>
          </c:cat>
          <c:val>
            <c:numRef>
              <c:f>Sheet1!$B$2:$B$12</c:f>
              <c:numCache>
                <c:formatCode>General</c:formatCode>
                <c:ptCount val="11"/>
                <c:pt idx="0">
                  <c:v>80.943688332821608</c:v>
                </c:pt>
                <c:pt idx="1">
                  <c:v>29.110147763840001</c:v>
                </c:pt>
                <c:pt idx="2">
                  <c:v>22.107667337184001</c:v>
                </c:pt>
                <c:pt idx="3">
                  <c:v>16.95850720512</c:v>
                </c:pt>
                <c:pt idx="4">
                  <c:v>12.332712193401601</c:v>
                </c:pt>
                <c:pt idx="5">
                  <c:v>8.0118844114400005</c:v>
                </c:pt>
                <c:pt idx="6">
                  <c:v>6.9099749555200001</c:v>
                </c:pt>
                <c:pt idx="7">
                  <c:v>6.1864731500000003</c:v>
                </c:pt>
                <c:pt idx="8">
                  <c:v>5.7549949462137597</c:v>
                </c:pt>
                <c:pt idx="9">
                  <c:v>3.7599769579127251</c:v>
                </c:pt>
                <c:pt idx="10">
                  <c:v>-192.0758155568498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999840973235289</c:v>
                </c:pt>
                <c:pt idx="1">
                  <c:v>-16.543229448667585</c:v>
                </c:pt>
                <c:pt idx="2">
                  <c:v>-17.461404009304243</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999840973235289</c:v>
                </c:pt>
                <c:pt idx="1">
                  <c:v>-16.543229448667585</c:v>
                </c:pt>
                <c:pt idx="2">
                  <c:v>-17.461404009304243</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050164977697754</c:v>
                </c:pt>
                <c:pt idx="1">
                  <c:v>-25.663616977291333</c:v>
                </c:pt>
                <c:pt idx="2">
                  <c:v>-27.087987008281253</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050164977697754</c:v>
                </c:pt>
                <c:pt idx="1">
                  <c:v>-25.663616977291333</c:v>
                </c:pt>
                <c:pt idx="2">
                  <c:v>-27.087987008281253</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181.80393800874316</c:v>
                </c:pt>
                <c:pt idx="2">
                  <c:v>-153.26393189938142</c:v>
                </c:pt>
                <c:pt idx="3">
                  <c:v>-238.0626612650571</c:v>
                </c:pt>
                <c:pt idx="4">
                  <c:v>-176.1485918997013</c:v>
                </c:pt>
                <c:pt idx="5">
                  <c:v>-169.51879708118562</c:v>
                </c:pt>
                <c:pt idx="7">
                  <c:v>-184.24849553633138</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181.80393800874316</c:v>
                </c:pt>
                <c:pt idx="2">
                  <c:v>-153.26393189938142</c:v>
                </c:pt>
                <c:pt idx="3">
                  <c:v>-238.0626612650571</c:v>
                </c:pt>
                <c:pt idx="4">
                  <c:v>-176.1485918997013</c:v>
                </c:pt>
                <c:pt idx="5">
                  <c:v>-169.51879708118562</c:v>
                </c:pt>
                <c:pt idx="7">
                  <c:v>-184.24849553633138</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27.087987008281253</c:v>
                </c:pt>
                <c:pt idx="2">
                  <c:v>-30.135260330411612</c:v>
                </c:pt>
                <c:pt idx="3">
                  <c:v>-18.432780272916659</c:v>
                </c:pt>
                <c:pt idx="4">
                  <c:v>-32.552300680825475</c:v>
                </c:pt>
                <c:pt idx="5">
                  <c:v>-38.158903974610141</c:v>
                </c:pt>
                <c:pt idx="7">
                  <c:v>-29.81981131469097</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27.087987008281253</c:v>
                </c:pt>
                <c:pt idx="2">
                  <c:v>-30.135260330411612</c:v>
                </c:pt>
                <c:pt idx="3">
                  <c:v>-18.432780272916659</c:v>
                </c:pt>
                <c:pt idx="4">
                  <c:v>-32.552300680825475</c:v>
                </c:pt>
                <c:pt idx="5">
                  <c:v>-38.158903974610141</c:v>
                </c:pt>
                <c:pt idx="7">
                  <c:v>-29.81981131469097</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6.543222137968392</c:v>
                </c:pt>
                <c:pt idx="2">
                  <c:v>-16.543222137968392</c:v>
                </c:pt>
                <c:pt idx="3">
                  <c:v>-16.543229448667585</c:v>
                </c:pt>
                <c:pt idx="4">
                  <c:v>-16.543229448667585</c:v>
                </c:pt>
                <c:pt idx="6">
                  <c:v>-17.461397001363345</c:v>
                </c:pt>
                <c:pt idx="7">
                  <c:v>-17.461397001363345</c:v>
                </c:pt>
                <c:pt idx="8">
                  <c:v>-17.461404009304243</c:v>
                </c:pt>
                <c:pt idx="9">
                  <c:v>-17.46140400930424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5.999840973235289</c:v>
                </c:pt>
                <c:pt idx="5">
                  <c:v>-16.543229448667585</c:v>
                </c:pt>
                <c:pt idx="10">
                  <c:v>-17.46140400930424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54338116473310383</c:v>
                </c:pt>
                <c:pt idx="3">
                  <c:v>7.3106991926185566E-6</c:v>
                </c:pt>
                <c:pt idx="6">
                  <c:v>0.91816755269576134</c:v>
                </c:pt>
                <c:pt idx="8">
                  <c:v>7.0079408963054701E-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5.999840973235289</c:v>
                </c:pt>
                <c:pt idx="5">
                  <c:v>-16.543229448667585</c:v>
                </c:pt>
                <c:pt idx="10">
                  <c:v>-17.46140400930424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Omgevingsadressendichtheid</c:v>
                </c:pt>
                <c:pt idx="3">
                  <c:v>Inwoners</c:v>
                </c:pt>
                <c:pt idx="4">
                  <c:v>Oeverlengte * dichtheid * bodemf. gemeente</c:v>
                </c:pt>
                <c:pt idx="5">
                  <c:v>Oeverlengte * bodemfactor gemeente</c:v>
                </c:pt>
                <c:pt idx="6">
                  <c:v>Land</c:v>
                </c:pt>
                <c:pt idx="7">
                  <c:v>Land * bodemfactor gemeente</c:v>
                </c:pt>
                <c:pt idx="8">
                  <c:v>0</c:v>
                </c:pt>
                <c:pt idx="9">
                  <c:v>0</c:v>
                </c:pt>
                <c:pt idx="10">
                  <c:v>Overig</c:v>
                </c:pt>
              </c:strCache>
            </c:strRef>
          </c:cat>
          <c:val>
            <c:numRef>
              <c:f>Sheet1!$B$2:$B$12</c:f>
              <c:numCache>
                <c:formatCode>General</c:formatCode>
                <c:ptCount val="11"/>
                <c:pt idx="0">
                  <c:v>-33.230786074720001</c:v>
                </c:pt>
                <c:pt idx="1">
                  <c:v>12.8176335665664</c:v>
                </c:pt>
                <c:pt idx="2">
                  <c:v>6.2599216073014414</c:v>
                </c:pt>
                <c:pt idx="3">
                  <c:v>-5.6840094615200005</c:v>
                </c:pt>
                <c:pt idx="4">
                  <c:v>2.318652457379514</c:v>
                </c:pt>
                <c:pt idx="5">
                  <c:v>0.1077346220652</c:v>
                </c:pt>
                <c:pt idx="6">
                  <c:v>-0.10445672952000003</c:v>
                </c:pt>
                <c:pt idx="7">
                  <c:v>5.3906003143200008E-2</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3.691516637754376</c:v>
                </c:pt>
                <c:pt idx="1">
                  <c:v>97.523259656275798</c:v>
                </c:pt>
                <c:pt idx="2">
                  <c:v>103.3288485780033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77385000000000004</c:v>
                </c:pt>
                <c:pt idx="1">
                  <c:v>0.77385000000000004</c:v>
                </c:pt>
                <c:pt idx="2">
                  <c:v>0.7738500000000000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4.465366637754371</c:v>
                </c:pt>
                <c:pt idx="1">
                  <c:v>98.297109656275794</c:v>
                </c:pt>
                <c:pt idx="2">
                  <c:v>104.102698578003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6.68820475856785</c:v>
                </c:pt>
                <c:pt idx="1">
                  <c:v>151.28845247305503</c:v>
                </c:pt>
                <c:pt idx="2">
                  <c:v>160.2946994623224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2115789275917785</c:v>
                </c:pt>
                <c:pt idx="1">
                  <c:v>1.2004784228799072</c:v>
                </c:pt>
                <c:pt idx="2">
                  <c:v>1.200478422879907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7.89978368615959</c:v>
                </c:pt>
                <c:pt idx="1">
                  <c:v>152.48893089593494</c:v>
                </c:pt>
                <c:pt idx="2">
                  <c:v>161.495177885202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160.29469946232246</c:v>
                </c:pt>
                <c:pt idx="2">
                  <c:v>157.45879229239236</c:v>
                </c:pt>
                <c:pt idx="3">
                  <c:v>186.56629271194734</c:v>
                </c:pt>
                <c:pt idx="4">
                  <c:v>119.73516794901589</c:v>
                </c:pt>
                <c:pt idx="5">
                  <c:v>113.41210100712098</c:v>
                </c:pt>
                <c:pt idx="7">
                  <c:v>144.29308849011915</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1.2004784228799072</c:v>
                </c:pt>
                <c:pt idx="2">
                  <c:v>1.0880700886706469</c:v>
                </c:pt>
                <c:pt idx="3">
                  <c:v>0.78430759069023659</c:v>
                </c:pt>
                <c:pt idx="4">
                  <c:v>1.5493133370741301</c:v>
                </c:pt>
                <c:pt idx="5">
                  <c:v>1.3794993999361083</c:v>
                </c:pt>
                <c:pt idx="7">
                  <c:v>1.2002976040927804</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161.49517788520237</c:v>
                </c:pt>
                <c:pt idx="2">
                  <c:v>158.54686238106299</c:v>
                </c:pt>
                <c:pt idx="3">
                  <c:v>187.35060030263756</c:v>
                </c:pt>
                <c:pt idx="4">
                  <c:v>121.28448128609004</c:v>
                </c:pt>
                <c:pt idx="5">
                  <c:v>114.79160040705709</c:v>
                </c:pt>
                <c:pt idx="7">
                  <c:v>145.49338609421193</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94.465366637754371</c:v>
                </c:pt>
                <c:pt idx="2">
                  <c:v>98.297096327037949</c:v>
                </c:pt>
                <c:pt idx="3">
                  <c:v>98.297096327037949</c:v>
                </c:pt>
                <c:pt idx="4">
                  <c:v>98.297109656275794</c:v>
                </c:pt>
                <c:pt idx="6">
                  <c:v>98.297109656275794</c:v>
                </c:pt>
                <c:pt idx="7">
                  <c:v>104.10267089817035</c:v>
                </c:pt>
                <c:pt idx="8">
                  <c:v>104.10267089817035</c:v>
                </c:pt>
                <c:pt idx="9">
                  <c:v>104.1026985780033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93.691516637754376</c:v>
                </c:pt>
                <c:pt idx="5">
                  <c:v>97.523259656275798</c:v>
                </c:pt>
                <c:pt idx="10">
                  <c:v>103.3288485780033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8317296892835735</c:v>
                </c:pt>
                <c:pt idx="3">
                  <c:v>1.3329237848828637E-5</c:v>
                </c:pt>
                <c:pt idx="6">
                  <c:v>5.8055612418945515</c:v>
                </c:pt>
                <c:pt idx="8">
                  <c:v>2.7679833024020471E-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77385000000000004</c:v>
                </c:pt>
                <c:pt idx="5">
                  <c:v>0.77385000000000004</c:v>
                </c:pt>
                <c:pt idx="10">
                  <c:v>0.77385000000000004</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94.465366637754371</c:v>
                </c:pt>
                <c:pt idx="5">
                  <c:v>98.297109656275794</c:v>
                </c:pt>
                <c:pt idx="10">
                  <c:v>104.1026985780033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Minderheden</c:v>
                </c:pt>
                <c:pt idx="3">
                  <c:v>Woz waarde niet woningen (in miljoenen)</c:v>
                </c:pt>
                <c:pt idx="4">
                  <c:v>Minderheden (drempel)</c:v>
                </c:pt>
                <c:pt idx="5">
                  <c:v>Klantenpotentieel regionaal</c:v>
                </c:pt>
                <c:pt idx="6">
                  <c:v>Huishoudens met laag inkomen (drempel)</c:v>
                </c:pt>
                <c:pt idx="7">
                  <c:v>Omgevingsadressendichtheid (drempel)</c:v>
                </c:pt>
                <c:pt idx="8">
                  <c:v>Klantenpotentieel lokaal</c:v>
                </c:pt>
                <c:pt idx="9">
                  <c:v>Bedrijfsvestigingen</c:v>
                </c:pt>
                <c:pt idx="10">
                  <c:v>Overig</c:v>
                </c:pt>
              </c:strCache>
            </c:strRef>
          </c:cat>
          <c:val>
            <c:numRef>
              <c:f>Sheet1!$B$2:$B$12</c:f>
              <c:numCache>
                <c:formatCode>General</c:formatCode>
                <c:ptCount val="11"/>
                <c:pt idx="0">
                  <c:v>30.558361986880001</c:v>
                </c:pt>
                <c:pt idx="1">
                  <c:v>27.444159629361284</c:v>
                </c:pt>
                <c:pt idx="2">
                  <c:v>16.6605439</c:v>
                </c:pt>
                <c:pt idx="3">
                  <c:v>12.357546636708001</c:v>
                </c:pt>
                <c:pt idx="4">
                  <c:v>5.2408902311999999</c:v>
                </c:pt>
                <c:pt idx="5">
                  <c:v>4.625988640000001</c:v>
                </c:pt>
                <c:pt idx="6">
                  <c:v>2.0028916554400005</c:v>
                </c:pt>
                <c:pt idx="7">
                  <c:v>1.3995375550540801</c:v>
                </c:pt>
                <c:pt idx="8">
                  <c:v>0.78945523800000017</c:v>
                </c:pt>
                <c:pt idx="9">
                  <c:v>0.72649922280000012</c:v>
                </c:pt>
                <c:pt idx="10">
                  <c:v>-101.8057713665948</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27.5370471972368</c:v>
                </c:pt>
                <c:pt idx="2">
                  <c:v>-127.5370471972368</c:v>
                </c:pt>
                <c:pt idx="3">
                  <c:v>-126.05232580211998</c:v>
                </c:pt>
                <c:pt idx="4">
                  <c:v>-126.05232580211998</c:v>
                </c:pt>
                <c:pt idx="6">
                  <c:v>-126.20590744050179</c:v>
                </c:pt>
                <c:pt idx="7">
                  <c:v>-126.20590744050179</c:v>
                </c:pt>
                <c:pt idx="8">
                  <c:v>-117.19409091131999</c:v>
                </c:pt>
                <c:pt idx="9">
                  <c:v>-117.19409091131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18.1603974832</c:v>
                </c:pt>
                <c:pt idx="5">
                  <c:v>-126.05232580211998</c:v>
                </c:pt>
                <c:pt idx="10">
                  <c:v>-117.194090911319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8653131879777838</c:v>
                </c:pt>
                <c:pt idx="7">
                  <c:v>9.649259241667806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9.376649714036807</c:v>
                </c:pt>
                <c:pt idx="3">
                  <c:v>0.38059179286097133</c:v>
                </c:pt>
                <c:pt idx="6">
                  <c:v>0.15358163838180885</c:v>
                </c:pt>
                <c:pt idx="8">
                  <c:v>0.6374427124860062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18.1603974832</c:v>
                </c:pt>
                <c:pt idx="5">
                  <c:v>-126.05232580211998</c:v>
                </c:pt>
                <c:pt idx="10">
                  <c:v>-117.194090911319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5.556962963694019</c:v>
                </c:pt>
                <c:pt idx="1">
                  <c:v>68.480894106284012</c:v>
                </c:pt>
                <c:pt idx="2">
                  <c:v>71.9163891754776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5.556962963694019</c:v>
                </c:pt>
                <c:pt idx="1">
                  <c:v>68.480894106284012</c:v>
                </c:pt>
                <c:pt idx="2">
                  <c:v>71.9163891754776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2.63931625473457</c:v>
                </c:pt>
                <c:pt idx="1">
                  <c:v>106.23484622874945</c:v>
                </c:pt>
                <c:pt idx="2">
                  <c:v>111.564351562441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2.63931625473457</c:v>
                </c:pt>
                <c:pt idx="1">
                  <c:v>106.23484622874945</c:v>
                </c:pt>
                <c:pt idx="2">
                  <c:v>111.564351562441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C$2:$C$10</c:f>
              <c:numCache>
                <c:formatCode>General</c:formatCode>
                <c:ptCount val="9"/>
                <c:pt idx="0">
                  <c:v>111.56435156244103</c:v>
                </c:pt>
                <c:pt idx="2">
                  <c:v>108.79429562111362</c:v>
                </c:pt>
                <c:pt idx="3">
                  <c:v>103.68612345278315</c:v>
                </c:pt>
                <c:pt idx="4">
                  <c:v>100.75419211640229</c:v>
                </c:pt>
                <c:pt idx="5">
                  <c:v>100.60578602289048</c:v>
                </c:pt>
                <c:pt idx="7">
                  <c:v>103.46009930329738</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otterdam</c:v>
                </c:pt>
                <c:pt idx="2">
                  <c:v>s-Gravenhage</c:v>
                </c:pt>
                <c:pt idx="3">
                  <c:v>Amsterdam</c:v>
                </c:pt>
                <c:pt idx="4">
                  <c:v>Utrecht</c:v>
                </c:pt>
                <c:pt idx="5">
                  <c:v>Eindhoven</c:v>
                </c:pt>
                <c:pt idx="7">
                  <c:v>4 gemeenten</c:v>
                </c:pt>
                <c:pt idx="8">
                  <c:v>Landelijk</c:v>
                </c:pt>
              </c:strCache>
            </c:strRef>
          </c:cat>
          <c:val>
            <c:numRef>
              <c:f>Sheet1!$B$2:$B$10</c:f>
              <c:numCache>
                <c:formatCode>General</c:formatCode>
                <c:ptCount val="9"/>
                <c:pt idx="0">
                  <c:v>111.56435156244103</c:v>
                </c:pt>
                <c:pt idx="2">
                  <c:v>108.79429562111362</c:v>
                </c:pt>
                <c:pt idx="3">
                  <c:v>103.68612345278315</c:v>
                </c:pt>
                <c:pt idx="4">
                  <c:v>100.75419211640229</c:v>
                </c:pt>
                <c:pt idx="5">
                  <c:v>100.60578602289048</c:v>
                </c:pt>
                <c:pt idx="7">
                  <c:v>103.46009930329738</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65.556962963694019</c:v>
                </c:pt>
                <c:pt idx="2">
                  <c:v>67.612102344466237</c:v>
                </c:pt>
                <c:pt idx="3">
                  <c:v>68.480887596695837</c:v>
                </c:pt>
                <c:pt idx="4">
                  <c:v>68.480894106283998</c:v>
                </c:pt>
                <c:pt idx="6">
                  <c:v>68.480894106284012</c:v>
                </c:pt>
                <c:pt idx="7">
                  <c:v>71.916353571781272</c:v>
                </c:pt>
                <c:pt idx="8">
                  <c:v>71.916353571781272</c:v>
                </c:pt>
                <c:pt idx="9">
                  <c:v>71.9163891754776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65.556962963694019</c:v>
                </c:pt>
                <c:pt idx="5">
                  <c:v>68.480894106284012</c:v>
                </c:pt>
                <c:pt idx="10">
                  <c:v>71.91638917547760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0551393807722205</c:v>
                </c:pt>
                <c:pt idx="2">
                  <c:v>0.86878525222960468</c:v>
                </c:pt>
                <c:pt idx="3">
                  <c:v>6.5095881674622711E-6</c:v>
                </c:pt>
                <c:pt idx="6">
                  <c:v>3.7521505380450448</c:v>
                </c:pt>
                <c:pt idx="8">
                  <c:v>3.560369632573258E-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0.3166910725477784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65.556962963694019</c:v>
                </c:pt>
                <c:pt idx="5">
                  <c:v>68.480894106284012</c:v>
                </c:pt>
                <c:pt idx="10">
                  <c:v>71.9163891754776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Omgevingsadressendichtheid</c:v>
                </c:pt>
                <c:pt idx="3">
                  <c:v>Klantenpotentieel regionaal</c:v>
                </c:pt>
                <c:pt idx="4">
                  <c:v>Minderheden</c:v>
                </c:pt>
                <c:pt idx="5">
                  <c:v>Bewoonde oorden 1930</c:v>
                </c:pt>
                <c:pt idx="6">
                  <c:v>Minderheden (drempel)</c:v>
                </c:pt>
                <c:pt idx="7">
                  <c:v>Bedrijfsvestigingen</c:v>
                </c:pt>
                <c:pt idx="8">
                  <c:v>Vast bedrag voor iedere gemeente</c:v>
                </c:pt>
                <c:pt idx="9">
                  <c:v>Land</c:v>
                </c:pt>
                <c:pt idx="10">
                  <c:v>Overig</c:v>
                </c:pt>
              </c:strCache>
            </c:strRef>
          </c:cat>
          <c:val>
            <c:numRef>
              <c:f>Sheet1!$B$2:$B$12</c:f>
              <c:numCache>
                <c:formatCode>General</c:formatCode>
                <c:ptCount val="11"/>
                <c:pt idx="0">
                  <c:v>53.026508742480004</c:v>
                </c:pt>
                <c:pt idx="1">
                  <c:v>17.243126180800001</c:v>
                </c:pt>
                <c:pt idx="2">
                  <c:v>-7.1512349487384022</c:v>
                </c:pt>
                <c:pt idx="3">
                  <c:v>-6.0600451184000006</c:v>
                </c:pt>
                <c:pt idx="4">
                  <c:v>6.0395192</c:v>
                </c:pt>
                <c:pt idx="5">
                  <c:v>4.2756363020800006</c:v>
                </c:pt>
                <c:pt idx="6">
                  <c:v>3.395133027936001</c:v>
                </c:pt>
                <c:pt idx="7">
                  <c:v>0.82973858604000006</c:v>
                </c:pt>
                <c:pt idx="8">
                  <c:v>0.28248488112000003</c:v>
                </c:pt>
                <c:pt idx="9">
                  <c:v>3.5522322160000001E-2</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OZB (niet-woningen eigenaar)</c:v>
                </c:pt>
                <c:pt idx="2">
                  <c:v>OZB (niet-woningen gebruiker)</c:v>
                </c:pt>
                <c:pt idx="3">
                  <c:v>Woonruimten</c:v>
                </c:pt>
                <c:pt idx="4">
                  <c:v>Vast bedrag voor iedere gemeente</c:v>
                </c:pt>
                <c:pt idx="10">
                  <c:v>Overig</c:v>
                </c:pt>
              </c:strCache>
            </c:strRef>
          </c:cat>
          <c:val>
            <c:numRef>
              <c:f>Sheet1!$B$2:$B$12</c:f>
              <c:numCache>
                <c:formatCode>General</c:formatCode>
                <c:ptCount val="11"/>
                <c:pt idx="0">
                  <c:v>-45.752211599999995</c:v>
                </c:pt>
                <c:pt idx="1">
                  <c:v>-28.820368059000003</c:v>
                </c:pt>
                <c:pt idx="2">
                  <c:v>-28.747929392</c:v>
                </c:pt>
                <c:pt idx="3">
                  <c:v>-13.929945440320001</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naam]</c:v>
                </c:pt>
                <c:pt idx="1">
                  <c:v>0</c:v>
                </c:pt>
                <c:pt idx="2">
                  <c:v>0</c:v>
                </c:pt>
                <c:pt idx="3">
                  <c:v>0</c:v>
                </c:pt>
                <c:pt idx="4">
                  <c:v>0</c:v>
                </c:pt>
                <c:pt idx="5">
                  <c:v>0</c:v>
                </c:pt>
                <c:pt idx="6">
                  <c:v>0</c:v>
                </c:pt>
                <c:pt idx="7">
                  <c:v>0</c:v>
                </c:pt>
                <c:pt idx="8">
                  <c:v>0</c:v>
                </c:pt>
                <c:pt idx="9">
                  <c:v>0</c:v>
                </c:pt>
                <c:pt idx="10">
                  <c:v>[naam]</c:v>
                </c:pt>
              </c:strCache>
            </c:strRef>
          </c:cat>
          <c:val>
            <c:numRef>
              <c:f>Sheet1!$B$2:$B$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US"/>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1566.7484417874164</cx:pt>
          <cx:pt idx="1">-117.19409091132</cx:pt>
          <cx:pt idx="2">1449.5543508760964</cx:pt>
          <cx:pt idx="3">317.62171599999988</cx:pt>
          <cx:pt idx="4">1767.176066876096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10-2020</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16"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929"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172"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65"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0.svg"/><Relationship Id="rId3" Type="http://schemas.openxmlformats.org/officeDocument/2006/relationships/tags" Target="../tags/tag29.xml"/><Relationship Id="rId7" Type="http://schemas.openxmlformats.org/officeDocument/2006/relationships/image" Target="../media/image5.png"/><Relationship Id="rId12"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11" Type="http://schemas.openxmlformats.org/officeDocument/2006/relationships/slide" Target="slide77.xml"/><Relationship Id="rId5" Type="http://schemas.openxmlformats.org/officeDocument/2006/relationships/oleObject" Target="../embeddings/oleObject14.bin"/><Relationship Id="rId10" Type="http://schemas.openxmlformats.org/officeDocument/2006/relationships/slide" Target="slide16.xml"/><Relationship Id="rId4" Type="http://schemas.openxmlformats.org/officeDocument/2006/relationships/slideLayout" Target="../slideLayouts/slideLayout2.xml"/><Relationship Id="rId9" Type="http://schemas.openxmlformats.org/officeDocument/2006/relationships/slide" Target="slide10.xml"/><Relationship Id="rId14" Type="http://schemas.openxmlformats.org/officeDocument/2006/relationships/slide" Target="slide2.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1.xml"/><Relationship Id="rId7" Type="http://schemas.microsoft.com/office/2014/relationships/chartEx" Target="../charts/chartEx2.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3.xml"/><Relationship Id="rId7" Type="http://schemas.openxmlformats.org/officeDocument/2006/relationships/chart" Target="../charts/chart1.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Layout" Target="../slideLayouts/slideLayout13.xml"/><Relationship Id="rId9"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41.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3.emf"/><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40.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0.svg"/><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notesSlide" Target="../notesSlides/notesSlide1.xml"/><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7.pn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52" Type="http://schemas.openxmlformats.org/officeDocument/2006/relationships/slide" Target="slide2.xml"/><Relationship Id="rId4" Type="http://schemas.openxmlformats.org/officeDocument/2006/relationships/slideLayout" Target="../slideLayouts/slideLayout2.xml"/><Relationship Id="rId9" Type="http://schemas.openxmlformats.org/officeDocument/2006/relationships/image" Target="../media/image6.sv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5.png"/><Relationship Id="rId51" Type="http://schemas.openxmlformats.org/officeDocument/2006/relationships/image" Target="../media/image39.svg"/></Relationships>
</file>

<file path=ppt/slides/_rels/slide17.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4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4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21.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21.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18.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tags" Target="../tags/tag45.xml"/><Relationship Id="rId7" Type="http://schemas.openxmlformats.org/officeDocument/2006/relationships/image" Target="../media/image40.png"/><Relationship Id="rId12" Type="http://schemas.openxmlformats.org/officeDocument/2006/relationships/chart" Target="../charts/chart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11" Type="http://schemas.openxmlformats.org/officeDocument/2006/relationships/chart" Target="../charts/chart4.xml"/><Relationship Id="rId5" Type="http://schemas.openxmlformats.org/officeDocument/2006/relationships/oleObject" Target="../embeddings/oleObject22.bin"/><Relationship Id="rId10" Type="http://schemas.openxmlformats.org/officeDocument/2006/relationships/image" Target="../media/image42.svg"/><Relationship Id="rId4" Type="http://schemas.openxmlformats.org/officeDocument/2006/relationships/slideLayout" Target="../slideLayouts/slideLayout10.xml"/><Relationship Id="rId9" Type="http://schemas.openxmlformats.org/officeDocument/2006/relationships/image" Target="../media/image14.png"/></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7.xml"/><Relationship Id="rId7" Type="http://schemas.openxmlformats.org/officeDocument/2006/relationships/chart" Target="../charts/chart6.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2.xml"/><Relationship Id="rId9" Type="http://schemas.openxmlformats.org/officeDocument/2006/relationships/image" Target="../media/image41.svg"/></Relationships>
</file>

<file path=ppt/slides/_rels/slide2.xml.rels><?xml version="1.0" encoding="UTF-8" standalone="yes"?>
<Relationships xmlns="http://schemas.openxmlformats.org/package/2006/relationships"><Relationship Id="rId8" Type="http://schemas.openxmlformats.org/officeDocument/2006/relationships/slide" Target="slide16.xml"/><Relationship Id="rId13" Type="http://schemas.openxmlformats.org/officeDocument/2006/relationships/image" Target="../media/image8.svg"/><Relationship Id="rId3" Type="http://schemas.openxmlformats.org/officeDocument/2006/relationships/tags" Target="../tags/tag13.xml"/><Relationship Id="rId7" Type="http://schemas.openxmlformats.org/officeDocument/2006/relationships/slide" Target="slide10.xml"/><Relationship Id="rId12"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11" Type="http://schemas.openxmlformats.org/officeDocument/2006/relationships/image" Target="../media/image6.svg"/><Relationship Id="rId5" Type="http://schemas.openxmlformats.org/officeDocument/2006/relationships/oleObject" Target="../embeddings/oleObject6.bin"/><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slide" Target="slide77.xml"/><Relationship Id="rId14" Type="http://schemas.openxmlformats.org/officeDocument/2006/relationships/slide" Target="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9.xml"/><Relationship Id="rId7" Type="http://schemas.openxmlformats.org/officeDocument/2006/relationships/chart" Target="../charts/chart7.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Layout" Target="../slideLayouts/slideLayout8.xml"/><Relationship Id="rId9" Type="http://schemas.openxmlformats.org/officeDocument/2006/relationships/image" Target="../media/image41.svg"/></Relationships>
</file>

<file path=ppt/slides/_rels/slide2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51.xml"/><Relationship Id="rId7" Type="http://schemas.openxmlformats.org/officeDocument/2006/relationships/chart" Target="../charts/chart8.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10" Type="http://schemas.openxmlformats.org/officeDocument/2006/relationships/image" Target="../media/image41.svg"/><Relationship Id="rId4" Type="http://schemas.openxmlformats.org/officeDocument/2006/relationships/slideLayout" Target="../slideLayouts/slideLayout8.xml"/><Relationship Id="rId9" Type="http://schemas.openxmlformats.org/officeDocument/2006/relationships/image" Target="../media/image40.png"/></Relationships>
</file>

<file path=ppt/slides/_rels/slide22.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5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5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26.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26.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2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55.xml"/><Relationship Id="rId7" Type="http://schemas.openxmlformats.org/officeDocument/2006/relationships/image" Target="../media/image14.png"/><Relationship Id="rId12" Type="http://schemas.openxmlformats.org/officeDocument/2006/relationships/image" Target="../media/image44.sv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3.emf"/><Relationship Id="rId11" Type="http://schemas.openxmlformats.org/officeDocument/2006/relationships/image" Target="../media/image43.png"/><Relationship Id="rId5" Type="http://schemas.openxmlformats.org/officeDocument/2006/relationships/oleObject" Target="../embeddings/oleObject27.bin"/><Relationship Id="rId10" Type="http://schemas.openxmlformats.org/officeDocument/2006/relationships/chart" Target="../charts/chart11.xml"/><Relationship Id="rId4" Type="http://schemas.openxmlformats.org/officeDocument/2006/relationships/slideLayout" Target="../slideLayouts/slideLayout10.xml"/><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57.xml"/><Relationship Id="rId7" Type="http://schemas.openxmlformats.org/officeDocument/2006/relationships/chart" Target="../charts/chart12.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Layout" Target="../slideLayouts/slideLayout2.xml"/><Relationship Id="rId9" Type="http://schemas.openxmlformats.org/officeDocument/2006/relationships/image" Target="../media/image44.svg"/></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59.xml"/><Relationship Id="rId7" Type="http://schemas.openxmlformats.org/officeDocument/2006/relationships/chart" Target="../charts/chart13.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slideLayout" Target="../slideLayouts/slideLayout8.xml"/><Relationship Id="rId9" Type="http://schemas.openxmlformats.org/officeDocument/2006/relationships/image" Target="../media/image44.svg"/></Relationships>
</file>

<file path=ppt/slides/_rels/slide26.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tags" Target="../tags/tag61.xml"/><Relationship Id="rId7" Type="http://schemas.openxmlformats.org/officeDocument/2006/relationships/chart" Target="../charts/chart14.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10" Type="http://schemas.openxmlformats.org/officeDocument/2006/relationships/image" Target="../media/image44.svg"/><Relationship Id="rId4" Type="http://schemas.openxmlformats.org/officeDocument/2006/relationships/slideLayout" Target="../slideLayouts/slideLayout8.xml"/><Relationship Id="rId9" Type="http://schemas.openxmlformats.org/officeDocument/2006/relationships/image" Target="../media/image43.png"/></Relationships>
</file>

<file path=ppt/slides/_rels/slide27.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6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6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31.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31.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28.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65.xml"/><Relationship Id="rId7" Type="http://schemas.openxmlformats.org/officeDocument/2006/relationships/image" Target="../media/image14.png"/><Relationship Id="rId12" Type="http://schemas.openxmlformats.org/officeDocument/2006/relationships/image" Target="../media/image46.svg"/><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3.emf"/><Relationship Id="rId11" Type="http://schemas.openxmlformats.org/officeDocument/2006/relationships/image" Target="../media/image45.png"/><Relationship Id="rId5" Type="http://schemas.openxmlformats.org/officeDocument/2006/relationships/oleObject" Target="../embeddings/oleObject32.bin"/><Relationship Id="rId10" Type="http://schemas.openxmlformats.org/officeDocument/2006/relationships/chart" Target="../charts/chart17.xml"/><Relationship Id="rId4" Type="http://schemas.openxmlformats.org/officeDocument/2006/relationships/slideLayout" Target="../slideLayouts/slideLayout10.xml"/><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67.xml"/><Relationship Id="rId7" Type="http://schemas.openxmlformats.org/officeDocument/2006/relationships/chart" Target="../charts/chart18.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3.bin"/><Relationship Id="rId4" Type="http://schemas.openxmlformats.org/officeDocument/2006/relationships/slideLayout" Target="../slideLayouts/slideLayout2.xml"/><Relationship Id="rId9" Type="http://schemas.openxmlformats.org/officeDocument/2006/relationships/image" Target="../media/image46.sv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xml"/><Relationship Id="rId7" Type="http://schemas.openxmlformats.org/officeDocument/2006/relationships/hyperlink" Target="https://youtu.be/Rrb0MrBUALw" TargetMode="Externa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11" Type="http://schemas.openxmlformats.org/officeDocument/2006/relationships/hyperlink" Target="https://www.rijksoverheid.nl/onderwerpen/financien-gemeenten-en-provincies/documenten/rapporten/2011/07/28/verdeling-van-de-uitkeringen-uit-het-gemeentefonds" TargetMode="External"/><Relationship Id="rId5" Type="http://schemas.openxmlformats.org/officeDocument/2006/relationships/oleObject" Target="../embeddings/oleObject7.bin"/><Relationship Id="rId10" Type="http://schemas.openxmlformats.org/officeDocument/2006/relationships/hyperlink" Target="https://www.rijksoverheid.nl/onderwerpen/financien-gemeenten-en-provincies/documenten/rapporten/2013/05/24/toelichting-op-de-berekening-van-de-uitkeringen-uit-het-gemeentefonds" TargetMode="External"/><Relationship Id="rId4" Type="http://schemas.openxmlformats.org/officeDocument/2006/relationships/slideLayout" Target="../slideLayouts/slideLayout3.xml"/><Relationship Id="rId9" Type="http://schemas.openxmlformats.org/officeDocument/2006/relationships/hyperlink" Target="https://kennisopenbaarbestuur.nl/thema/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69.xml"/><Relationship Id="rId7" Type="http://schemas.openxmlformats.org/officeDocument/2006/relationships/chart" Target="../charts/chart19.xm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Layout" Target="../slideLayouts/slideLayout8.xml"/><Relationship Id="rId9" Type="http://schemas.openxmlformats.org/officeDocument/2006/relationships/image" Target="../media/image46.svg"/></Relationships>
</file>

<file path=ppt/slides/_rels/slide31.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tags" Target="../tags/tag71.xml"/><Relationship Id="rId7" Type="http://schemas.openxmlformats.org/officeDocument/2006/relationships/chart" Target="../charts/chart20.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10" Type="http://schemas.openxmlformats.org/officeDocument/2006/relationships/image" Target="../media/image46.svg"/><Relationship Id="rId4" Type="http://schemas.openxmlformats.org/officeDocument/2006/relationships/slideLayout" Target="../slideLayouts/slideLayout8.xml"/><Relationship Id="rId9" Type="http://schemas.openxmlformats.org/officeDocument/2006/relationships/image" Target="../media/image45.png"/></Relationships>
</file>

<file path=ppt/slides/_rels/slide32.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7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7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36.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36.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33.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50.svg"/><Relationship Id="rId3" Type="http://schemas.openxmlformats.org/officeDocument/2006/relationships/tags" Target="../tags/tag75.xml"/><Relationship Id="rId7" Type="http://schemas.openxmlformats.org/officeDocument/2006/relationships/image" Target="../media/image14.png"/><Relationship Id="rId12" Type="http://schemas.openxmlformats.org/officeDocument/2006/relationships/image" Target="../media/image49.png"/><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3.emf"/><Relationship Id="rId11" Type="http://schemas.openxmlformats.org/officeDocument/2006/relationships/image" Target="../media/image48.svg"/><Relationship Id="rId5" Type="http://schemas.openxmlformats.org/officeDocument/2006/relationships/oleObject" Target="../embeddings/oleObject37.bin"/><Relationship Id="rId10" Type="http://schemas.openxmlformats.org/officeDocument/2006/relationships/image" Target="../media/image47.png"/><Relationship Id="rId4" Type="http://schemas.openxmlformats.org/officeDocument/2006/relationships/slideLayout" Target="../slideLayouts/slideLayout10.xml"/><Relationship Id="rId9" Type="http://schemas.openxmlformats.org/officeDocument/2006/relationships/chart" Target="../charts/chart22.xml"/><Relationship Id="rId14" Type="http://schemas.openxmlformats.org/officeDocument/2006/relationships/chart" Target="../charts/chart23.xml"/></Relationships>
</file>

<file path=ppt/slides/_rels/slide34.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tags" Target="../tags/tag77.xml"/><Relationship Id="rId7" Type="http://schemas.openxmlformats.org/officeDocument/2006/relationships/image" Target="../media/image47.png"/><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3.emf"/><Relationship Id="rId11" Type="http://schemas.openxmlformats.org/officeDocument/2006/relationships/chart" Target="../charts/chart24.xml"/><Relationship Id="rId5" Type="http://schemas.openxmlformats.org/officeDocument/2006/relationships/oleObject" Target="../embeddings/oleObject38.bin"/><Relationship Id="rId10" Type="http://schemas.openxmlformats.org/officeDocument/2006/relationships/image" Target="../media/image50.svg"/><Relationship Id="rId4" Type="http://schemas.openxmlformats.org/officeDocument/2006/relationships/slideLayout" Target="../slideLayouts/slideLayout2.xml"/><Relationship Id="rId9" Type="http://schemas.openxmlformats.org/officeDocument/2006/relationships/image" Target="../media/image49.png"/></Relationships>
</file>

<file path=ppt/slides/_rels/slide3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79.xml"/><Relationship Id="rId7" Type="http://schemas.openxmlformats.org/officeDocument/2006/relationships/chart" Target="../charts/chart25.xml"/><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3.emf"/><Relationship Id="rId11" Type="http://schemas.openxmlformats.org/officeDocument/2006/relationships/image" Target="../media/image50.svg"/><Relationship Id="rId5" Type="http://schemas.openxmlformats.org/officeDocument/2006/relationships/oleObject" Target="../embeddings/oleObject39.bin"/><Relationship Id="rId10" Type="http://schemas.openxmlformats.org/officeDocument/2006/relationships/image" Target="../media/image49.png"/><Relationship Id="rId4" Type="http://schemas.openxmlformats.org/officeDocument/2006/relationships/slideLayout" Target="../slideLayouts/slideLayout8.xml"/><Relationship Id="rId9" Type="http://schemas.openxmlformats.org/officeDocument/2006/relationships/image" Target="../media/image48.svg"/></Relationships>
</file>

<file path=ppt/slides/_rels/slide36.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tags" Target="../tags/tag81.xml"/><Relationship Id="rId7" Type="http://schemas.openxmlformats.org/officeDocument/2006/relationships/chart" Target="../charts/chart26.xml"/><Relationship Id="rId12" Type="http://schemas.openxmlformats.org/officeDocument/2006/relationships/image" Target="../media/image50.sv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3.emf"/><Relationship Id="rId11" Type="http://schemas.openxmlformats.org/officeDocument/2006/relationships/image" Target="../media/image49.png"/><Relationship Id="rId5" Type="http://schemas.openxmlformats.org/officeDocument/2006/relationships/oleObject" Target="../embeddings/oleObject40.bin"/><Relationship Id="rId10" Type="http://schemas.openxmlformats.org/officeDocument/2006/relationships/image" Target="../media/image48.svg"/><Relationship Id="rId4" Type="http://schemas.openxmlformats.org/officeDocument/2006/relationships/slideLayout" Target="../slideLayouts/slideLayout8.xml"/><Relationship Id="rId9" Type="http://schemas.openxmlformats.org/officeDocument/2006/relationships/image" Target="../media/image47.png"/></Relationships>
</file>

<file path=ppt/slides/_rels/slide37.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8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8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41.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41.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38.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85.xml"/><Relationship Id="rId7" Type="http://schemas.openxmlformats.org/officeDocument/2006/relationships/image" Target="../media/image14.png"/><Relationship Id="rId12" Type="http://schemas.openxmlformats.org/officeDocument/2006/relationships/image" Target="../media/image52.svg"/><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3.emf"/><Relationship Id="rId11" Type="http://schemas.openxmlformats.org/officeDocument/2006/relationships/image" Target="../media/image51.png"/><Relationship Id="rId5" Type="http://schemas.openxmlformats.org/officeDocument/2006/relationships/oleObject" Target="../embeddings/oleObject42.bin"/><Relationship Id="rId10" Type="http://schemas.openxmlformats.org/officeDocument/2006/relationships/chart" Target="../charts/chart29.xml"/><Relationship Id="rId4" Type="http://schemas.openxmlformats.org/officeDocument/2006/relationships/slideLayout" Target="../slideLayouts/slideLayout10.xml"/><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87.xml"/><Relationship Id="rId7" Type="http://schemas.openxmlformats.org/officeDocument/2006/relationships/chart" Target="../charts/chart30.xml"/><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slideLayout" Target="../slideLayouts/slideLayout2.xml"/><Relationship Id="rId9" Type="http://schemas.openxmlformats.org/officeDocument/2006/relationships/image" Target="../media/image52.sv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7.xml"/><Relationship Id="rId7" Type="http://schemas.microsoft.com/office/2014/relationships/chartEx" Target="../charts/chartEx1.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89.xml"/><Relationship Id="rId7" Type="http://schemas.openxmlformats.org/officeDocument/2006/relationships/chart" Target="../charts/chart31.xml"/><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Layout" Target="../slideLayouts/slideLayout8.xml"/><Relationship Id="rId9" Type="http://schemas.openxmlformats.org/officeDocument/2006/relationships/image" Target="../media/image52.svg"/></Relationships>
</file>

<file path=ppt/slides/_rels/slide41.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tags" Target="../tags/tag91.xml"/><Relationship Id="rId7" Type="http://schemas.openxmlformats.org/officeDocument/2006/relationships/chart" Target="../charts/chart32.xml"/><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oleObject" Target="../embeddings/oleObject45.bin"/><Relationship Id="rId10" Type="http://schemas.openxmlformats.org/officeDocument/2006/relationships/image" Target="../media/image52.svg"/><Relationship Id="rId4" Type="http://schemas.openxmlformats.org/officeDocument/2006/relationships/slideLayout" Target="../slideLayouts/slideLayout8.xml"/><Relationship Id="rId9" Type="http://schemas.openxmlformats.org/officeDocument/2006/relationships/image" Target="../media/image51.png"/></Relationships>
</file>

<file path=ppt/slides/_rels/slide42.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9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9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46.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46.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4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95.xml"/><Relationship Id="rId7" Type="http://schemas.openxmlformats.org/officeDocument/2006/relationships/image" Target="../media/image14.png"/><Relationship Id="rId12" Type="http://schemas.openxmlformats.org/officeDocument/2006/relationships/image" Target="../media/image54.svg"/><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media/image3.emf"/><Relationship Id="rId11" Type="http://schemas.openxmlformats.org/officeDocument/2006/relationships/image" Target="../media/image53.png"/><Relationship Id="rId5" Type="http://schemas.openxmlformats.org/officeDocument/2006/relationships/oleObject" Target="../embeddings/oleObject47.bin"/><Relationship Id="rId10" Type="http://schemas.openxmlformats.org/officeDocument/2006/relationships/chart" Target="../charts/chart35.xml"/><Relationship Id="rId4" Type="http://schemas.openxmlformats.org/officeDocument/2006/relationships/slideLayout" Target="../slideLayouts/slideLayout10.xml"/><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97.xml"/><Relationship Id="rId7" Type="http://schemas.openxmlformats.org/officeDocument/2006/relationships/chart" Target="../charts/chart36.xml"/><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Layout" Target="../slideLayouts/slideLayout2.xml"/><Relationship Id="rId9" Type="http://schemas.openxmlformats.org/officeDocument/2006/relationships/image" Target="../media/image54.svg"/></Relationships>
</file>

<file path=ppt/slides/_rels/slide4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99.xml"/><Relationship Id="rId7" Type="http://schemas.openxmlformats.org/officeDocument/2006/relationships/chart" Target="../charts/chart37.xml"/><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Layout" Target="../slideLayouts/slideLayout8.xml"/><Relationship Id="rId9" Type="http://schemas.openxmlformats.org/officeDocument/2006/relationships/image" Target="../media/image54.svg"/></Relationships>
</file>

<file path=ppt/slides/_rels/slide46.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tags" Target="../tags/tag101.xml"/><Relationship Id="rId7" Type="http://schemas.openxmlformats.org/officeDocument/2006/relationships/chart" Target="../charts/chart38.xml"/><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media/image3.emf"/><Relationship Id="rId5" Type="http://schemas.openxmlformats.org/officeDocument/2006/relationships/oleObject" Target="../embeddings/oleObject50.bin"/><Relationship Id="rId10" Type="http://schemas.openxmlformats.org/officeDocument/2006/relationships/image" Target="../media/image54.svg"/><Relationship Id="rId4" Type="http://schemas.openxmlformats.org/officeDocument/2006/relationships/slideLayout" Target="../slideLayouts/slideLayout8.xml"/><Relationship Id="rId9" Type="http://schemas.openxmlformats.org/officeDocument/2006/relationships/image" Target="../media/image53.png"/></Relationships>
</file>

<file path=ppt/slides/_rels/slide47.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10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10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51.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51.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48.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105.xml"/><Relationship Id="rId7" Type="http://schemas.openxmlformats.org/officeDocument/2006/relationships/image" Target="../media/image14.png"/><Relationship Id="rId12" Type="http://schemas.openxmlformats.org/officeDocument/2006/relationships/image" Target="../media/image56.svg"/><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media/image3.emf"/><Relationship Id="rId11" Type="http://schemas.openxmlformats.org/officeDocument/2006/relationships/image" Target="../media/image55.png"/><Relationship Id="rId5" Type="http://schemas.openxmlformats.org/officeDocument/2006/relationships/oleObject" Target="../embeddings/oleObject52.bin"/><Relationship Id="rId10" Type="http://schemas.openxmlformats.org/officeDocument/2006/relationships/chart" Target="../charts/chart41.xml"/><Relationship Id="rId4" Type="http://schemas.openxmlformats.org/officeDocument/2006/relationships/slideLayout" Target="../slideLayouts/slideLayout10.xml"/><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107.xml"/><Relationship Id="rId7" Type="http://schemas.openxmlformats.org/officeDocument/2006/relationships/chart" Target="../charts/chart42.xml"/><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oleObject" Target="../embeddings/oleObject53.bin"/><Relationship Id="rId4" Type="http://schemas.openxmlformats.org/officeDocument/2006/relationships/slideLayout" Target="../slideLayouts/slideLayout2.xml"/><Relationship Id="rId9" Type="http://schemas.openxmlformats.org/officeDocument/2006/relationships/image" Target="../media/image56.svg"/></Relationships>
</file>

<file path=ppt/slides/_rels/slide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109.xml"/><Relationship Id="rId7" Type="http://schemas.openxmlformats.org/officeDocument/2006/relationships/chart" Target="../charts/chart43.xml"/><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media/image3.emf"/><Relationship Id="rId5" Type="http://schemas.openxmlformats.org/officeDocument/2006/relationships/oleObject" Target="../embeddings/oleObject54.bin"/><Relationship Id="rId4" Type="http://schemas.openxmlformats.org/officeDocument/2006/relationships/slideLayout" Target="../slideLayouts/slideLayout8.xml"/><Relationship Id="rId9" Type="http://schemas.openxmlformats.org/officeDocument/2006/relationships/image" Target="../media/image56.svg"/></Relationships>
</file>

<file path=ppt/slides/_rels/slide51.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tags" Target="../tags/tag111.xml"/><Relationship Id="rId7" Type="http://schemas.openxmlformats.org/officeDocument/2006/relationships/chart" Target="../charts/chart44.xml"/><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3.emf"/><Relationship Id="rId5" Type="http://schemas.openxmlformats.org/officeDocument/2006/relationships/oleObject" Target="../embeddings/oleObject55.bin"/><Relationship Id="rId10" Type="http://schemas.openxmlformats.org/officeDocument/2006/relationships/image" Target="../media/image56.svg"/><Relationship Id="rId4" Type="http://schemas.openxmlformats.org/officeDocument/2006/relationships/slideLayout" Target="../slideLayouts/slideLayout8.xml"/><Relationship Id="rId9" Type="http://schemas.openxmlformats.org/officeDocument/2006/relationships/image" Target="../media/image55.png"/></Relationships>
</file>

<file path=ppt/slides/_rels/slide52.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11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11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56.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56.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5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115.xml"/><Relationship Id="rId7" Type="http://schemas.openxmlformats.org/officeDocument/2006/relationships/image" Target="../media/image14.png"/><Relationship Id="rId12" Type="http://schemas.openxmlformats.org/officeDocument/2006/relationships/image" Target="../media/image58.svg"/><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image" Target="../media/image3.emf"/><Relationship Id="rId11" Type="http://schemas.openxmlformats.org/officeDocument/2006/relationships/image" Target="../media/image57.png"/><Relationship Id="rId5" Type="http://schemas.openxmlformats.org/officeDocument/2006/relationships/oleObject" Target="../embeddings/oleObject57.bin"/><Relationship Id="rId10" Type="http://schemas.openxmlformats.org/officeDocument/2006/relationships/chart" Target="../charts/chart47.xml"/><Relationship Id="rId4" Type="http://schemas.openxmlformats.org/officeDocument/2006/relationships/slideLayout" Target="../slideLayouts/slideLayout10.xml"/><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117.xml"/><Relationship Id="rId7" Type="http://schemas.openxmlformats.org/officeDocument/2006/relationships/chart" Target="../charts/chart48.xml"/><Relationship Id="rId2" Type="http://schemas.openxmlformats.org/officeDocument/2006/relationships/tags" Target="../tags/tag116.xml"/><Relationship Id="rId1" Type="http://schemas.openxmlformats.org/officeDocument/2006/relationships/vmlDrawing" Target="../drawings/vmlDrawing58.vml"/><Relationship Id="rId6" Type="http://schemas.openxmlformats.org/officeDocument/2006/relationships/image" Target="../media/image3.emf"/><Relationship Id="rId5" Type="http://schemas.openxmlformats.org/officeDocument/2006/relationships/oleObject" Target="../embeddings/oleObject58.bin"/><Relationship Id="rId4" Type="http://schemas.openxmlformats.org/officeDocument/2006/relationships/slideLayout" Target="../slideLayouts/slideLayout2.xml"/><Relationship Id="rId9" Type="http://schemas.openxmlformats.org/officeDocument/2006/relationships/image" Target="../media/image58.svg"/></Relationships>
</file>

<file path=ppt/slides/_rels/slide55.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119.xml"/><Relationship Id="rId7" Type="http://schemas.openxmlformats.org/officeDocument/2006/relationships/chart" Target="../charts/chart49.xml"/><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image" Target="../media/image3.emf"/><Relationship Id="rId5" Type="http://schemas.openxmlformats.org/officeDocument/2006/relationships/oleObject" Target="../embeddings/oleObject59.bin"/><Relationship Id="rId4" Type="http://schemas.openxmlformats.org/officeDocument/2006/relationships/slideLayout" Target="../slideLayouts/slideLayout8.xml"/><Relationship Id="rId9" Type="http://schemas.openxmlformats.org/officeDocument/2006/relationships/image" Target="../media/image58.svg"/></Relationships>
</file>

<file path=ppt/slides/_rels/slide56.xml.rels><?xml version="1.0" encoding="UTF-8" standalone="yes"?>
<Relationships xmlns="http://schemas.openxmlformats.org/package/2006/relationships"><Relationship Id="rId8" Type="http://schemas.openxmlformats.org/officeDocument/2006/relationships/chart" Target="../charts/chart51.xml"/><Relationship Id="rId3" Type="http://schemas.openxmlformats.org/officeDocument/2006/relationships/tags" Target="../tags/tag121.xml"/><Relationship Id="rId7" Type="http://schemas.openxmlformats.org/officeDocument/2006/relationships/chart" Target="../charts/chart50.xml"/><Relationship Id="rId2" Type="http://schemas.openxmlformats.org/officeDocument/2006/relationships/tags" Target="../tags/tag120.xml"/><Relationship Id="rId1" Type="http://schemas.openxmlformats.org/officeDocument/2006/relationships/vmlDrawing" Target="../drawings/vmlDrawing60.vml"/><Relationship Id="rId6" Type="http://schemas.openxmlformats.org/officeDocument/2006/relationships/image" Target="../media/image3.emf"/><Relationship Id="rId5" Type="http://schemas.openxmlformats.org/officeDocument/2006/relationships/oleObject" Target="../embeddings/oleObject60.bin"/><Relationship Id="rId10" Type="http://schemas.openxmlformats.org/officeDocument/2006/relationships/image" Target="../media/image58.svg"/><Relationship Id="rId4" Type="http://schemas.openxmlformats.org/officeDocument/2006/relationships/slideLayout" Target="../slideLayouts/slideLayout8.xml"/><Relationship Id="rId9" Type="http://schemas.openxmlformats.org/officeDocument/2006/relationships/image" Target="../media/image57.png"/></Relationships>
</file>

<file path=ppt/slides/_rels/slide57.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12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12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61.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61.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58.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61.png"/><Relationship Id="rId3" Type="http://schemas.openxmlformats.org/officeDocument/2006/relationships/tags" Target="../tags/tag125.xml"/><Relationship Id="rId7" Type="http://schemas.openxmlformats.org/officeDocument/2006/relationships/image" Target="../media/image14.png"/><Relationship Id="rId12" Type="http://schemas.openxmlformats.org/officeDocument/2006/relationships/image" Target="../media/image60.svg"/><Relationship Id="rId2" Type="http://schemas.openxmlformats.org/officeDocument/2006/relationships/tags" Target="../tags/tag124.xml"/><Relationship Id="rId1" Type="http://schemas.openxmlformats.org/officeDocument/2006/relationships/vmlDrawing" Target="../drawings/vmlDrawing62.vml"/><Relationship Id="rId6" Type="http://schemas.openxmlformats.org/officeDocument/2006/relationships/image" Target="../media/image3.emf"/><Relationship Id="rId11" Type="http://schemas.openxmlformats.org/officeDocument/2006/relationships/image" Target="../media/image59.png"/><Relationship Id="rId5" Type="http://schemas.openxmlformats.org/officeDocument/2006/relationships/oleObject" Target="../embeddings/oleObject62.bin"/><Relationship Id="rId10" Type="http://schemas.openxmlformats.org/officeDocument/2006/relationships/chart" Target="../charts/chart53.xml"/><Relationship Id="rId4" Type="http://schemas.openxmlformats.org/officeDocument/2006/relationships/slideLayout" Target="../slideLayouts/slideLayout10.xml"/><Relationship Id="rId9" Type="http://schemas.openxmlformats.org/officeDocument/2006/relationships/chart" Target="../charts/chart52.xml"/><Relationship Id="rId14" Type="http://schemas.openxmlformats.org/officeDocument/2006/relationships/image" Target="../media/image62.svg"/></Relationships>
</file>

<file path=ppt/slides/_rels/slide5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127.xml"/><Relationship Id="rId7" Type="http://schemas.openxmlformats.org/officeDocument/2006/relationships/chart" Target="../charts/chart54.xml"/><Relationship Id="rId2" Type="http://schemas.openxmlformats.org/officeDocument/2006/relationships/tags" Target="../tags/tag126.xml"/><Relationship Id="rId1" Type="http://schemas.openxmlformats.org/officeDocument/2006/relationships/vmlDrawing" Target="../drawings/vmlDrawing63.vml"/><Relationship Id="rId6" Type="http://schemas.openxmlformats.org/officeDocument/2006/relationships/image" Target="../media/image3.emf"/><Relationship Id="rId11" Type="http://schemas.openxmlformats.org/officeDocument/2006/relationships/image" Target="../media/image62.svg"/><Relationship Id="rId5" Type="http://schemas.openxmlformats.org/officeDocument/2006/relationships/oleObject" Target="../embeddings/oleObject63.bin"/><Relationship Id="rId10" Type="http://schemas.openxmlformats.org/officeDocument/2006/relationships/image" Target="../media/image61.png"/><Relationship Id="rId4" Type="http://schemas.openxmlformats.org/officeDocument/2006/relationships/slideLayout" Target="../slideLayouts/slideLayout2.xml"/><Relationship Id="rId9" Type="http://schemas.openxmlformats.org/officeDocument/2006/relationships/image" Target="../media/image60.svg"/></Relationships>
</file>

<file path=ppt/slides/_rels/slide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129.xml"/><Relationship Id="rId7" Type="http://schemas.openxmlformats.org/officeDocument/2006/relationships/chart" Target="../charts/chart55.xml"/><Relationship Id="rId2" Type="http://schemas.openxmlformats.org/officeDocument/2006/relationships/tags" Target="../tags/tag128.xml"/><Relationship Id="rId1" Type="http://schemas.openxmlformats.org/officeDocument/2006/relationships/vmlDrawing" Target="../drawings/vmlDrawing64.vml"/><Relationship Id="rId6" Type="http://schemas.openxmlformats.org/officeDocument/2006/relationships/image" Target="../media/image3.emf"/><Relationship Id="rId11" Type="http://schemas.openxmlformats.org/officeDocument/2006/relationships/image" Target="../media/image62.svg"/><Relationship Id="rId5" Type="http://schemas.openxmlformats.org/officeDocument/2006/relationships/oleObject" Target="../embeddings/oleObject64.bin"/><Relationship Id="rId10" Type="http://schemas.openxmlformats.org/officeDocument/2006/relationships/image" Target="../media/image61.png"/><Relationship Id="rId4" Type="http://schemas.openxmlformats.org/officeDocument/2006/relationships/slideLayout" Target="../slideLayouts/slideLayout8.xml"/><Relationship Id="rId9" Type="http://schemas.openxmlformats.org/officeDocument/2006/relationships/image" Target="../media/image60.svg"/></Relationships>
</file>

<file path=ppt/slides/_rels/slide61.xml.rels><?xml version="1.0" encoding="UTF-8" standalone="yes"?>
<Relationships xmlns="http://schemas.openxmlformats.org/package/2006/relationships"><Relationship Id="rId8" Type="http://schemas.openxmlformats.org/officeDocument/2006/relationships/chart" Target="../charts/chart57.xml"/><Relationship Id="rId3" Type="http://schemas.openxmlformats.org/officeDocument/2006/relationships/tags" Target="../tags/tag131.xml"/><Relationship Id="rId7" Type="http://schemas.openxmlformats.org/officeDocument/2006/relationships/chart" Target="../charts/chart56.xml"/><Relationship Id="rId12" Type="http://schemas.openxmlformats.org/officeDocument/2006/relationships/image" Target="../media/image62.svg"/><Relationship Id="rId2" Type="http://schemas.openxmlformats.org/officeDocument/2006/relationships/tags" Target="../tags/tag130.xml"/><Relationship Id="rId1" Type="http://schemas.openxmlformats.org/officeDocument/2006/relationships/vmlDrawing" Target="../drawings/vmlDrawing65.vml"/><Relationship Id="rId6" Type="http://schemas.openxmlformats.org/officeDocument/2006/relationships/image" Target="../media/image3.emf"/><Relationship Id="rId11" Type="http://schemas.openxmlformats.org/officeDocument/2006/relationships/image" Target="../media/image61.png"/><Relationship Id="rId5" Type="http://schemas.openxmlformats.org/officeDocument/2006/relationships/oleObject" Target="../embeddings/oleObject65.bin"/><Relationship Id="rId10" Type="http://schemas.openxmlformats.org/officeDocument/2006/relationships/image" Target="../media/image60.svg"/><Relationship Id="rId4" Type="http://schemas.openxmlformats.org/officeDocument/2006/relationships/slideLayout" Target="../slideLayouts/slideLayout8.xml"/><Relationship Id="rId9" Type="http://schemas.openxmlformats.org/officeDocument/2006/relationships/image" Target="../media/image59.png"/></Relationships>
</file>

<file path=ppt/slides/_rels/slide62.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13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13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66.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66.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6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135.xml"/><Relationship Id="rId7" Type="http://schemas.openxmlformats.org/officeDocument/2006/relationships/image" Target="../media/image14.png"/><Relationship Id="rId12" Type="http://schemas.openxmlformats.org/officeDocument/2006/relationships/chart" Target="../charts/chart59.xml"/><Relationship Id="rId2" Type="http://schemas.openxmlformats.org/officeDocument/2006/relationships/tags" Target="../tags/tag134.xml"/><Relationship Id="rId1" Type="http://schemas.openxmlformats.org/officeDocument/2006/relationships/vmlDrawing" Target="../drawings/vmlDrawing67.vml"/><Relationship Id="rId6" Type="http://schemas.openxmlformats.org/officeDocument/2006/relationships/image" Target="../media/image3.emf"/><Relationship Id="rId11" Type="http://schemas.openxmlformats.org/officeDocument/2006/relationships/chart" Target="../charts/chart58.xml"/><Relationship Id="rId5" Type="http://schemas.openxmlformats.org/officeDocument/2006/relationships/oleObject" Target="../embeddings/oleObject67.bin"/><Relationship Id="rId10" Type="http://schemas.openxmlformats.org/officeDocument/2006/relationships/image" Target="../media/image64.svg"/><Relationship Id="rId4" Type="http://schemas.openxmlformats.org/officeDocument/2006/relationships/slideLayout" Target="../slideLayouts/slideLayout10.xml"/><Relationship Id="rId9" Type="http://schemas.openxmlformats.org/officeDocument/2006/relationships/image" Target="../media/image63.png"/></Relationships>
</file>

<file path=ppt/slides/_rels/slide64.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tags" Target="../tags/tag137.xml"/><Relationship Id="rId7" Type="http://schemas.openxmlformats.org/officeDocument/2006/relationships/image" Target="../media/image63.png"/><Relationship Id="rId2" Type="http://schemas.openxmlformats.org/officeDocument/2006/relationships/tags" Target="../tags/tag136.xml"/><Relationship Id="rId1" Type="http://schemas.openxmlformats.org/officeDocument/2006/relationships/vmlDrawing" Target="../drawings/vmlDrawing68.vml"/><Relationship Id="rId6" Type="http://schemas.openxmlformats.org/officeDocument/2006/relationships/image" Target="../media/image3.emf"/><Relationship Id="rId5" Type="http://schemas.openxmlformats.org/officeDocument/2006/relationships/oleObject" Target="../embeddings/oleObject68.bin"/><Relationship Id="rId4" Type="http://schemas.openxmlformats.org/officeDocument/2006/relationships/slideLayout" Target="../slideLayouts/slideLayout2.xml"/><Relationship Id="rId9" Type="http://schemas.openxmlformats.org/officeDocument/2006/relationships/chart" Target="../charts/chart60.xml"/></Relationships>
</file>

<file path=ppt/slides/_rels/slide6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139.xml"/><Relationship Id="rId7" Type="http://schemas.openxmlformats.org/officeDocument/2006/relationships/chart" Target="../charts/chart61.xml"/><Relationship Id="rId2" Type="http://schemas.openxmlformats.org/officeDocument/2006/relationships/tags" Target="../tags/tag138.xml"/><Relationship Id="rId1" Type="http://schemas.openxmlformats.org/officeDocument/2006/relationships/vmlDrawing" Target="../drawings/vmlDrawing69.vml"/><Relationship Id="rId6" Type="http://schemas.openxmlformats.org/officeDocument/2006/relationships/image" Target="../media/image3.emf"/><Relationship Id="rId5" Type="http://schemas.openxmlformats.org/officeDocument/2006/relationships/oleObject" Target="../embeddings/oleObject69.bin"/><Relationship Id="rId4" Type="http://schemas.openxmlformats.org/officeDocument/2006/relationships/slideLayout" Target="../slideLayouts/slideLayout8.xml"/><Relationship Id="rId9" Type="http://schemas.openxmlformats.org/officeDocument/2006/relationships/image" Target="../media/image64.svg"/></Relationships>
</file>

<file path=ppt/slides/_rels/slide66.xml.rels><?xml version="1.0" encoding="UTF-8" standalone="yes"?>
<Relationships xmlns="http://schemas.openxmlformats.org/package/2006/relationships"><Relationship Id="rId8" Type="http://schemas.openxmlformats.org/officeDocument/2006/relationships/chart" Target="../charts/chart63.xml"/><Relationship Id="rId3" Type="http://schemas.openxmlformats.org/officeDocument/2006/relationships/tags" Target="../tags/tag141.xml"/><Relationship Id="rId7" Type="http://schemas.openxmlformats.org/officeDocument/2006/relationships/chart" Target="../charts/chart62.xml"/><Relationship Id="rId2" Type="http://schemas.openxmlformats.org/officeDocument/2006/relationships/tags" Target="../tags/tag140.xml"/><Relationship Id="rId1" Type="http://schemas.openxmlformats.org/officeDocument/2006/relationships/vmlDrawing" Target="../drawings/vmlDrawing70.vml"/><Relationship Id="rId6" Type="http://schemas.openxmlformats.org/officeDocument/2006/relationships/image" Target="../media/image3.emf"/><Relationship Id="rId5" Type="http://schemas.openxmlformats.org/officeDocument/2006/relationships/oleObject" Target="../embeddings/oleObject70.bin"/><Relationship Id="rId10" Type="http://schemas.openxmlformats.org/officeDocument/2006/relationships/image" Target="../media/image64.svg"/><Relationship Id="rId4" Type="http://schemas.openxmlformats.org/officeDocument/2006/relationships/slideLayout" Target="../slideLayouts/slideLayout8.xml"/><Relationship Id="rId9" Type="http://schemas.openxmlformats.org/officeDocument/2006/relationships/image" Target="../media/image63.png"/></Relationships>
</file>

<file path=ppt/slides/_rels/slide67.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14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14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71.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71.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68.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145.xml"/><Relationship Id="rId7" Type="http://schemas.openxmlformats.org/officeDocument/2006/relationships/image" Target="../media/image14.png"/><Relationship Id="rId12" Type="http://schemas.openxmlformats.org/officeDocument/2006/relationships/image" Target="../media/image66.svg"/><Relationship Id="rId2" Type="http://schemas.openxmlformats.org/officeDocument/2006/relationships/tags" Target="../tags/tag144.xml"/><Relationship Id="rId1" Type="http://schemas.openxmlformats.org/officeDocument/2006/relationships/vmlDrawing" Target="../drawings/vmlDrawing72.vml"/><Relationship Id="rId6" Type="http://schemas.openxmlformats.org/officeDocument/2006/relationships/image" Target="../media/image3.emf"/><Relationship Id="rId11" Type="http://schemas.openxmlformats.org/officeDocument/2006/relationships/image" Target="../media/image65.png"/><Relationship Id="rId5" Type="http://schemas.openxmlformats.org/officeDocument/2006/relationships/oleObject" Target="../embeddings/oleObject72.bin"/><Relationship Id="rId10" Type="http://schemas.openxmlformats.org/officeDocument/2006/relationships/chart" Target="../charts/chart65.xml"/><Relationship Id="rId4" Type="http://schemas.openxmlformats.org/officeDocument/2006/relationships/slideLayout" Target="../slideLayouts/slideLayout10.xml"/><Relationship Id="rId9" Type="http://schemas.openxmlformats.org/officeDocument/2006/relationships/chart" Target="../charts/chart64.xml"/></Relationships>
</file>

<file path=ppt/slides/_rels/slide6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147.xml"/><Relationship Id="rId7" Type="http://schemas.openxmlformats.org/officeDocument/2006/relationships/chart" Target="../charts/chart66.xml"/><Relationship Id="rId2" Type="http://schemas.openxmlformats.org/officeDocument/2006/relationships/tags" Target="../tags/tag146.xml"/><Relationship Id="rId1" Type="http://schemas.openxmlformats.org/officeDocument/2006/relationships/vmlDrawing" Target="../drawings/vmlDrawing73.vml"/><Relationship Id="rId6" Type="http://schemas.openxmlformats.org/officeDocument/2006/relationships/image" Target="../media/image3.emf"/><Relationship Id="rId5" Type="http://schemas.openxmlformats.org/officeDocument/2006/relationships/oleObject" Target="../embeddings/oleObject73.bin"/><Relationship Id="rId4" Type="http://schemas.openxmlformats.org/officeDocument/2006/relationships/slideLayout" Target="../slideLayouts/slideLayout2.xml"/><Relationship Id="rId9" Type="http://schemas.openxmlformats.org/officeDocument/2006/relationships/image" Target="../media/image66.svg"/></Relationships>
</file>

<file path=ppt/slides/_rels/slide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149.xml"/><Relationship Id="rId7" Type="http://schemas.openxmlformats.org/officeDocument/2006/relationships/chart" Target="../charts/chart67.xml"/><Relationship Id="rId2" Type="http://schemas.openxmlformats.org/officeDocument/2006/relationships/tags" Target="../tags/tag148.xml"/><Relationship Id="rId1" Type="http://schemas.openxmlformats.org/officeDocument/2006/relationships/vmlDrawing" Target="../drawings/vmlDrawing74.vml"/><Relationship Id="rId6" Type="http://schemas.openxmlformats.org/officeDocument/2006/relationships/image" Target="../media/image3.emf"/><Relationship Id="rId5" Type="http://schemas.openxmlformats.org/officeDocument/2006/relationships/oleObject" Target="../embeddings/oleObject74.bin"/><Relationship Id="rId4" Type="http://schemas.openxmlformats.org/officeDocument/2006/relationships/slideLayout" Target="../slideLayouts/slideLayout8.xml"/><Relationship Id="rId9" Type="http://schemas.openxmlformats.org/officeDocument/2006/relationships/image" Target="../media/image66.svg"/></Relationships>
</file>

<file path=ppt/slides/_rels/slide71.xml.rels><?xml version="1.0" encoding="UTF-8" standalone="yes"?>
<Relationships xmlns="http://schemas.openxmlformats.org/package/2006/relationships"><Relationship Id="rId8" Type="http://schemas.openxmlformats.org/officeDocument/2006/relationships/chart" Target="../charts/chart69.xml"/><Relationship Id="rId3" Type="http://schemas.openxmlformats.org/officeDocument/2006/relationships/tags" Target="../tags/tag151.xml"/><Relationship Id="rId7" Type="http://schemas.openxmlformats.org/officeDocument/2006/relationships/chart" Target="../charts/chart68.xml"/><Relationship Id="rId2" Type="http://schemas.openxmlformats.org/officeDocument/2006/relationships/tags" Target="../tags/tag150.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oleObject" Target="../embeddings/oleObject75.bin"/><Relationship Id="rId10" Type="http://schemas.openxmlformats.org/officeDocument/2006/relationships/image" Target="../media/image66.svg"/><Relationship Id="rId4" Type="http://schemas.openxmlformats.org/officeDocument/2006/relationships/slideLayout" Target="../slideLayouts/slideLayout8.xml"/><Relationship Id="rId9" Type="http://schemas.openxmlformats.org/officeDocument/2006/relationships/image" Target="../media/image65.png"/></Relationships>
</file>

<file path=ppt/slides/_rels/slide72.xml.rels><?xml version="1.0" encoding="UTF-8" standalone="yes"?>
<Relationships xmlns="http://schemas.openxmlformats.org/package/2006/relationships"><Relationship Id="rId13" Type="http://schemas.openxmlformats.org/officeDocument/2006/relationships/slide" Target="slide22.xml"/><Relationship Id="rId18" Type="http://schemas.openxmlformats.org/officeDocument/2006/relationships/slide" Target="slide47.xml"/><Relationship Id="rId26" Type="http://schemas.openxmlformats.org/officeDocument/2006/relationships/image" Target="../media/image14.png"/><Relationship Id="rId39" Type="http://schemas.openxmlformats.org/officeDocument/2006/relationships/image" Target="../media/image27.svg"/><Relationship Id="rId3" Type="http://schemas.openxmlformats.org/officeDocument/2006/relationships/tags" Target="../tags/tag153.xml"/><Relationship Id="rId21" Type="http://schemas.openxmlformats.org/officeDocument/2006/relationships/slide" Target="slide62.xml"/><Relationship Id="rId34" Type="http://schemas.openxmlformats.org/officeDocument/2006/relationships/image" Target="../media/image22.png"/><Relationship Id="rId42" Type="http://schemas.openxmlformats.org/officeDocument/2006/relationships/image" Target="../media/image30.png"/><Relationship Id="rId47" Type="http://schemas.openxmlformats.org/officeDocument/2006/relationships/image" Target="../media/image35.svg"/><Relationship Id="rId50" Type="http://schemas.openxmlformats.org/officeDocument/2006/relationships/image" Target="../media/image38.png"/><Relationship Id="rId7" Type="http://schemas.openxmlformats.org/officeDocument/2006/relationships/image" Target="../media/image5.png"/><Relationship Id="rId12" Type="http://schemas.openxmlformats.org/officeDocument/2006/relationships/slide" Target="slide17.xml"/><Relationship Id="rId17" Type="http://schemas.openxmlformats.org/officeDocument/2006/relationships/slide" Target="slide42.xml"/><Relationship Id="rId25" Type="http://schemas.openxmlformats.org/officeDocument/2006/relationships/image" Target="../media/image13.svg"/><Relationship Id="rId33" Type="http://schemas.openxmlformats.org/officeDocument/2006/relationships/image" Target="../media/image21.svg"/><Relationship Id="rId38" Type="http://schemas.openxmlformats.org/officeDocument/2006/relationships/image" Target="../media/image26.png"/><Relationship Id="rId46" Type="http://schemas.openxmlformats.org/officeDocument/2006/relationships/image" Target="../media/image34.png"/><Relationship Id="rId2" Type="http://schemas.openxmlformats.org/officeDocument/2006/relationships/tags" Target="../tags/tag152.xml"/><Relationship Id="rId16" Type="http://schemas.openxmlformats.org/officeDocument/2006/relationships/slide" Target="slide37.xml"/><Relationship Id="rId20" Type="http://schemas.openxmlformats.org/officeDocument/2006/relationships/slide" Target="slide57.xml"/><Relationship Id="rId29" Type="http://schemas.openxmlformats.org/officeDocument/2006/relationships/image" Target="../media/image17.svg"/><Relationship Id="rId41" Type="http://schemas.openxmlformats.org/officeDocument/2006/relationships/image" Target="../media/image29.svg"/><Relationship Id="rId1" Type="http://schemas.openxmlformats.org/officeDocument/2006/relationships/vmlDrawing" Target="../drawings/vmlDrawing76.vml"/><Relationship Id="rId6" Type="http://schemas.openxmlformats.org/officeDocument/2006/relationships/image" Target="../media/image3.emf"/><Relationship Id="rId11" Type="http://schemas.openxmlformats.org/officeDocument/2006/relationships/slide" Target="slide2.xml"/><Relationship Id="rId24" Type="http://schemas.openxmlformats.org/officeDocument/2006/relationships/image" Target="../media/image12.png"/><Relationship Id="rId32" Type="http://schemas.openxmlformats.org/officeDocument/2006/relationships/image" Target="../media/image20.png"/><Relationship Id="rId37" Type="http://schemas.openxmlformats.org/officeDocument/2006/relationships/image" Target="../media/image25.svg"/><Relationship Id="rId40" Type="http://schemas.openxmlformats.org/officeDocument/2006/relationships/image" Target="../media/image28.png"/><Relationship Id="rId45" Type="http://schemas.openxmlformats.org/officeDocument/2006/relationships/image" Target="../media/image33.svg"/><Relationship Id="rId5" Type="http://schemas.openxmlformats.org/officeDocument/2006/relationships/oleObject" Target="../embeddings/oleObject76.bin"/><Relationship Id="rId15" Type="http://schemas.openxmlformats.org/officeDocument/2006/relationships/slide" Target="slide32.xml"/><Relationship Id="rId23" Type="http://schemas.openxmlformats.org/officeDocument/2006/relationships/slide" Target="slide72.xml"/><Relationship Id="rId28" Type="http://schemas.openxmlformats.org/officeDocument/2006/relationships/image" Target="../media/image16.png"/><Relationship Id="rId36" Type="http://schemas.openxmlformats.org/officeDocument/2006/relationships/image" Target="../media/image24.png"/><Relationship Id="rId49" Type="http://schemas.openxmlformats.org/officeDocument/2006/relationships/image" Target="../media/image37.svg"/><Relationship Id="rId10" Type="http://schemas.openxmlformats.org/officeDocument/2006/relationships/image" Target="../media/image10.svg"/><Relationship Id="rId19" Type="http://schemas.openxmlformats.org/officeDocument/2006/relationships/slide" Target="slide52.xml"/><Relationship Id="rId31" Type="http://schemas.openxmlformats.org/officeDocument/2006/relationships/image" Target="../media/image19.svg"/><Relationship Id="rId44" Type="http://schemas.openxmlformats.org/officeDocument/2006/relationships/image" Target="../media/image32.png"/><Relationship Id="rId4" Type="http://schemas.openxmlformats.org/officeDocument/2006/relationships/slideLayout" Target="../slideLayouts/slideLayout2.xml"/><Relationship Id="rId9" Type="http://schemas.openxmlformats.org/officeDocument/2006/relationships/image" Target="../media/image7.png"/><Relationship Id="rId14" Type="http://schemas.openxmlformats.org/officeDocument/2006/relationships/slide" Target="slide27.xml"/><Relationship Id="rId22" Type="http://schemas.openxmlformats.org/officeDocument/2006/relationships/slide" Target="slide67.xml"/><Relationship Id="rId27" Type="http://schemas.openxmlformats.org/officeDocument/2006/relationships/image" Target="../media/image15.svg"/><Relationship Id="rId30" Type="http://schemas.openxmlformats.org/officeDocument/2006/relationships/image" Target="../media/image18.png"/><Relationship Id="rId35" Type="http://schemas.openxmlformats.org/officeDocument/2006/relationships/image" Target="../media/image23.svg"/><Relationship Id="rId43" Type="http://schemas.openxmlformats.org/officeDocument/2006/relationships/image" Target="../media/image31.svg"/><Relationship Id="rId48" Type="http://schemas.openxmlformats.org/officeDocument/2006/relationships/image" Target="../media/image36.png"/><Relationship Id="rId8" Type="http://schemas.openxmlformats.org/officeDocument/2006/relationships/image" Target="../media/image6.svg"/><Relationship Id="rId51" Type="http://schemas.openxmlformats.org/officeDocument/2006/relationships/image" Target="../media/image39.svg"/></Relationships>
</file>

<file path=ppt/slides/_rels/slide7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tags" Target="../tags/tag155.xml"/><Relationship Id="rId7" Type="http://schemas.openxmlformats.org/officeDocument/2006/relationships/image" Target="../media/image14.png"/><Relationship Id="rId12" Type="http://schemas.openxmlformats.org/officeDocument/2006/relationships/image" Target="../media/image68.svg"/><Relationship Id="rId2" Type="http://schemas.openxmlformats.org/officeDocument/2006/relationships/tags" Target="../tags/tag154.xml"/><Relationship Id="rId1" Type="http://schemas.openxmlformats.org/officeDocument/2006/relationships/vmlDrawing" Target="../drawings/vmlDrawing77.vml"/><Relationship Id="rId6" Type="http://schemas.openxmlformats.org/officeDocument/2006/relationships/image" Target="../media/image3.emf"/><Relationship Id="rId11" Type="http://schemas.openxmlformats.org/officeDocument/2006/relationships/image" Target="../media/image67.png"/><Relationship Id="rId5" Type="http://schemas.openxmlformats.org/officeDocument/2006/relationships/oleObject" Target="../embeddings/oleObject77.bin"/><Relationship Id="rId10" Type="http://schemas.openxmlformats.org/officeDocument/2006/relationships/chart" Target="../charts/chart71.xml"/><Relationship Id="rId4" Type="http://schemas.openxmlformats.org/officeDocument/2006/relationships/slideLayout" Target="../slideLayouts/slideLayout10.xml"/><Relationship Id="rId9" Type="http://schemas.openxmlformats.org/officeDocument/2006/relationships/chart" Target="../charts/chart70.xml"/></Relationships>
</file>

<file path=ppt/slides/_rels/slide7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157.xml"/><Relationship Id="rId7" Type="http://schemas.openxmlformats.org/officeDocument/2006/relationships/chart" Target="../charts/chart72.xml"/><Relationship Id="rId2" Type="http://schemas.openxmlformats.org/officeDocument/2006/relationships/tags" Target="../tags/tag156.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oleObject" Target="../embeddings/oleObject78.bin"/><Relationship Id="rId4" Type="http://schemas.openxmlformats.org/officeDocument/2006/relationships/slideLayout" Target="../slideLayouts/slideLayout2.xml"/><Relationship Id="rId9" Type="http://schemas.openxmlformats.org/officeDocument/2006/relationships/image" Target="../media/image68.svg"/></Relationships>
</file>

<file path=ppt/slides/_rels/slide7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159.xml"/><Relationship Id="rId7" Type="http://schemas.openxmlformats.org/officeDocument/2006/relationships/chart" Target="../charts/chart73.xml"/><Relationship Id="rId2" Type="http://schemas.openxmlformats.org/officeDocument/2006/relationships/tags" Target="../tags/tag158.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oleObject" Target="../embeddings/oleObject79.bin"/><Relationship Id="rId4" Type="http://schemas.openxmlformats.org/officeDocument/2006/relationships/slideLayout" Target="../slideLayouts/slideLayout8.xml"/><Relationship Id="rId9" Type="http://schemas.openxmlformats.org/officeDocument/2006/relationships/image" Target="../media/image68.svg"/></Relationships>
</file>

<file path=ppt/slides/_rels/slide76.xml.rels><?xml version="1.0" encoding="UTF-8" standalone="yes"?>
<Relationships xmlns="http://schemas.openxmlformats.org/package/2006/relationships"><Relationship Id="rId8" Type="http://schemas.openxmlformats.org/officeDocument/2006/relationships/chart" Target="../charts/chart75.xml"/><Relationship Id="rId3" Type="http://schemas.openxmlformats.org/officeDocument/2006/relationships/tags" Target="../tags/tag161.xml"/><Relationship Id="rId7" Type="http://schemas.openxmlformats.org/officeDocument/2006/relationships/chart" Target="../charts/chart74.xml"/><Relationship Id="rId2" Type="http://schemas.openxmlformats.org/officeDocument/2006/relationships/tags" Target="../tags/tag160.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oleObject" Target="../embeddings/oleObject80.bin"/><Relationship Id="rId10" Type="http://schemas.openxmlformats.org/officeDocument/2006/relationships/image" Target="../media/image68.svg"/><Relationship Id="rId4" Type="http://schemas.openxmlformats.org/officeDocument/2006/relationships/slideLayout" Target="../slideLayouts/slideLayout8.xml"/><Relationship Id="rId9" Type="http://schemas.openxmlformats.org/officeDocument/2006/relationships/image" Target="../media/image67.png"/></Relationships>
</file>

<file path=ppt/slides/_rels/slide77.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0.svg"/><Relationship Id="rId3" Type="http://schemas.openxmlformats.org/officeDocument/2006/relationships/tags" Target="../tags/tag163.xml"/><Relationship Id="rId7" Type="http://schemas.openxmlformats.org/officeDocument/2006/relationships/image" Target="../media/image5.png"/><Relationship Id="rId12" Type="http://schemas.openxmlformats.org/officeDocument/2006/relationships/image" Target="../media/image7.png"/><Relationship Id="rId2" Type="http://schemas.openxmlformats.org/officeDocument/2006/relationships/tags" Target="../tags/tag162.xml"/><Relationship Id="rId1" Type="http://schemas.openxmlformats.org/officeDocument/2006/relationships/vmlDrawing" Target="../drawings/vmlDrawing81.vml"/><Relationship Id="rId6" Type="http://schemas.openxmlformats.org/officeDocument/2006/relationships/image" Target="../media/image3.emf"/><Relationship Id="rId11" Type="http://schemas.openxmlformats.org/officeDocument/2006/relationships/slide" Target="slide77.xml"/><Relationship Id="rId5" Type="http://schemas.openxmlformats.org/officeDocument/2006/relationships/oleObject" Target="../embeddings/oleObject81.bin"/><Relationship Id="rId10" Type="http://schemas.openxmlformats.org/officeDocument/2006/relationships/slide" Target="slide16.xml"/><Relationship Id="rId4" Type="http://schemas.openxmlformats.org/officeDocument/2006/relationships/slideLayout" Target="../slideLayouts/slideLayout2.xml"/><Relationship Id="rId9" Type="http://schemas.openxmlformats.org/officeDocument/2006/relationships/slide" Target="slide10.xml"/><Relationship Id="rId14" Type="http://schemas.openxmlformats.org/officeDocument/2006/relationships/slide" Target="slide2.xml"/></Relationships>
</file>

<file path=ppt/slides/_rels/slide78.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oleObject" Target="../embeddings/oleObject82.bin"/><Relationship Id="rId4"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oleObject" Target="../embeddings/oleObject83.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5.xml"/><Relationship Id="rId7" Type="http://schemas.openxmlformats.org/officeDocument/2006/relationships/hyperlink" Target="https://www.itspublic.nl/materialen/gemeentefonds" TargetMode="Externa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Layout" Target="../slideLayouts/slideLayout3.xml"/><Relationship Id="rId9" Type="http://schemas.openxmlformats.org/officeDocument/2006/relationships/image" Target="../media/image6.svg"/></Relationships>
</file>

<file path=ppt/slides/_rels/slide80.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oleObject" Target="../embeddings/oleObject84.bin"/><Relationship Id="rId4"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Layout" Target="../slideLayouts/slideLayout10.xml"/></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tags" Target="../tags/tag173.xml"/><Relationship Id="rId7" Type="http://schemas.openxmlformats.org/officeDocument/2006/relationships/image" Target="../media/image69.png"/><Relationship Id="rId2" Type="http://schemas.openxmlformats.org/officeDocument/2006/relationships/tags" Target="../tags/tag172.xml"/><Relationship Id="rId1" Type="http://schemas.openxmlformats.org/officeDocument/2006/relationships/vmlDrawing" Target="../drawings/vmlDrawing86.vml"/><Relationship Id="rId6" Type="http://schemas.openxmlformats.org/officeDocument/2006/relationships/image" Target="../media/image2.emf"/><Relationship Id="rId5" Type="http://schemas.openxmlformats.org/officeDocument/2006/relationships/oleObject" Target="../embeddings/oleObject86.bin"/><Relationship Id="rId10" Type="http://schemas.openxmlformats.org/officeDocument/2006/relationships/image" Target="../media/image70.svg"/><Relationship Id="rId4" Type="http://schemas.openxmlformats.org/officeDocument/2006/relationships/slideLayout" Target="../slideLayouts/slideLayout2.xml"/><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hyperlink" Target="http://creativecommons.org/licenses/by/4.0/" TargetMode="External"/><Relationship Id="rId3" Type="http://schemas.openxmlformats.org/officeDocument/2006/relationships/tags" Target="../tags/tag175.xml"/><Relationship Id="rId7" Type="http://schemas.openxmlformats.org/officeDocument/2006/relationships/hyperlink" Target="http://www.itspublic.nl/" TargetMode="External"/><Relationship Id="rId2" Type="http://schemas.openxmlformats.org/officeDocument/2006/relationships/tags" Target="../tags/tag174.xml"/><Relationship Id="rId1" Type="http://schemas.openxmlformats.org/officeDocument/2006/relationships/vmlDrawing" Target="../drawings/vmlDrawing87.vml"/><Relationship Id="rId6" Type="http://schemas.openxmlformats.org/officeDocument/2006/relationships/image" Target="../media/image71.emf"/><Relationship Id="rId5" Type="http://schemas.openxmlformats.org/officeDocument/2006/relationships/oleObject" Target="../embeddings/oleObject87.bin"/><Relationship Id="rId10" Type="http://schemas.openxmlformats.org/officeDocument/2006/relationships/image" Target="../media/image73.png"/><Relationship Id="rId4" Type="http://schemas.openxmlformats.org/officeDocument/2006/relationships/slideLayout" Target="../slideLayouts/slideLayout6.xml"/><Relationship Id="rId9" Type="http://schemas.openxmlformats.org/officeDocument/2006/relationships/image" Target="../media/image72.png"/></Relationships>
</file>

<file path=ppt/slides/_rels/slide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876"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7">
            <a:alphaModFix amt="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Rotterdam</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854"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9"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10"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1"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765812" y="3144206"/>
            <a:ext cx="418002" cy="396000"/>
          </a:xfrm>
          <a:prstGeom prst="rect">
            <a:avLst/>
          </a:prstGeom>
        </p:spPr>
      </p:pic>
      <p:sp>
        <p:nvSpPr>
          <p:cNvPr id="37" name="Text Placeholder 5">
            <a:hlinkClick r:id="rId14"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4"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58539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82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Rotterdam is ca. 1.767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138734193"/>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1.767,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17,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1.449,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117,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1.566,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405637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5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Rotterdam is ca. 1.767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2223548711"/>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2275656611"/>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4271444743"/>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9"/>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99269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15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17242321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6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9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54,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81,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67,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Rotterdam is ca. 1.767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466291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17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80706148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9,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59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60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4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3,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Rotterdam ca. 2.741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08478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21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386619056"/>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Rotterdam</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74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41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7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325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901" name="think-cell Slide" r:id="rId6" imgW="347" imgH="348" progId="TCLayout.ActiveDocument.1">
                  <p:embed/>
                </p:oleObj>
              </mc:Choice>
              <mc:Fallback>
                <p:oleObj name="think-cell Slide" r:id="rId6"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2"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3"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4"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5"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6"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7"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8"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9"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20"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1"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2"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3"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
        <p:nvSpPr>
          <p:cNvPr id="72" name="Title 4">
            <a:hlinkClick r:id="rId52"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0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2"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3"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4"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5"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6"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7"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8"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9"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20"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1"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2"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3"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92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7614905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07491129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368909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90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61255413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81077226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5011549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6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7"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8"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9"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765812" y="2453141"/>
            <a:ext cx="418002" cy="396000"/>
          </a:xfrm>
          <a:prstGeom prst="rect">
            <a:avLst/>
          </a:prstGeom>
        </p:spPr>
      </p:pic>
      <p:sp>
        <p:nvSpPr>
          <p:cNvPr id="17" name="Text Placeholder 5">
            <a:hlinkClick r:id="rId14"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4"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5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79987864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76"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36435415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117,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6983961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80101196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0215514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4"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94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2726978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26103193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8100424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7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79021485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9942948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8 / 6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 / 5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78 / 8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 / 2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77 / 20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39533274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96"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208467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2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4074776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238,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93545015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63434040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56745389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35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5"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9492219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27313239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42544733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04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4095419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9236263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0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4 / 1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87207059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79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7"/>
            <a:extLst>
              <a:ext uri="{FF2B5EF4-FFF2-40B4-BE49-F238E27FC236}">
                <a16:creationId xmlns:a16="http://schemas.microsoft.com/office/drawing/2014/main" id="{C806E9C2-75AF-4562-9632-8E96D8E03AD6}"/>
              </a:ext>
            </a:extLst>
          </p:cNvPr>
          <p:cNvPicPr>
            <a:picLocks noChangeAspect="1"/>
          </p:cNvPicPr>
          <p:nvPr/>
        </p:nvPicPr>
        <p:blipFill rotWithShape="1">
          <a:blip r:embed="rId8">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7"/>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7"/>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9"/>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10"/>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1"/>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44"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7306448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86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77460787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37,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4321552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3916195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19263622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116"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6"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9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0732347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84334281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3279002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38.91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3.1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3.1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11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09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78740024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1"/>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1666596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23 / 4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7 / 2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5 / 3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2 / 1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 / 1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73 / 8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08165230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3.12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9.9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8.0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9.9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8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89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0491063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1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546050274"/>
              </p:ext>
            </p:extLst>
          </p:nvPr>
        </p:nvGraphicFramePr>
        <p:xfrm>
          <a:off x="705467" y="2099388"/>
          <a:ext cx="4958215" cy="4421286"/>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 minus 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iddeld gestandaardiseer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iddeld gestandaardiseerd inkomen (huishoudens met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met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met langduri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asisonderwijsleerlingen met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07291383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08246904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20976663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61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7"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6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84402620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99405455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7175405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8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70174761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6404668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89 / 18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9 / 13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24 / 23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4 / 13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 / 7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2 / 57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25098468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704"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5682817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6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529718453"/>
              </p:ext>
            </p:extLst>
          </p:nvPr>
        </p:nvGraphicFramePr>
        <p:xfrm>
          <a:off x="705467" y="2099388"/>
          <a:ext cx="4958215" cy="4143291"/>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iddeld gestandaardiseerd inkomen 75 t/m 84 j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9312380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93258592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5240813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63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8"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23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21466216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0524407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015225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38.91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3.1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3.1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0"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0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83998978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48458055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6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0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79321897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3.12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9.9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8.0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9.9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8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8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98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92297142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1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84583505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chterstandsleerling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  </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9986044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55634553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9868942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65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9"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0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33953765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5609011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8211508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3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85097666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20096862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714424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3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5204634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6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88569847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71915972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4017820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5798340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8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20"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8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17471630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8580959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40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8466816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3657108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8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17 / 1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99571432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08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61828151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10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3559820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ist.woningen in bewoonde oor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172,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9619284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423982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22896507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70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1"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5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10384107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3465851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15785193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76"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08632383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8108539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2 / 1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7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7 / 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 / 1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7176867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43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13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3827908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15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891327967"/>
              </p:ext>
            </p:extLst>
          </p:nvPr>
        </p:nvGraphicFramePr>
        <p:xfrm>
          <a:off x="705467" y="2099388"/>
          <a:ext cx="4958215" cy="4143291"/>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dichtheid * bodemf.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17573747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32481527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48945523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73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2"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52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6459407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396434258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341074486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4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63503423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53024548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124894809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9"/>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0739388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20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702376163"/>
              </p:ext>
            </p:extLst>
          </p:nvPr>
        </p:nvGraphicFramePr>
        <p:xfrm>
          <a:off x="705467" y="2099388"/>
          <a:ext cx="4958215" cy="4143291"/>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dichtheid * bodemf.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17,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68015830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84522623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2875451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75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3"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96"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2627346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0596502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7208685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620"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23582960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3482047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4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91647948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970"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Rotterdam,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3836846351"/>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767,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5,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67,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7,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67,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230"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72780833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253"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33804333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iljoe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98662527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8412892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84416000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779"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2"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3"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4"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5"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6"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7"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8"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9"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20"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1"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2"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3"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6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3302977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Ontwikkeling totale uitkering</a:t>
            </a:r>
            <a:endParaRPr lang="nl-NL" dirty="0"/>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93361473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0034258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38.71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644.61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9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934971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7"/>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73754065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012400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4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37.8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2.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8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1.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85.3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277"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Algemene 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428058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7"/>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30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4233273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71,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15823136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43495580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naa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naam]</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nl-NL" sz="1000" b="1">
                          <a:solidFill>
                            <a:sysClr val="windowText" lastClr="000000"/>
                          </a:solidFill>
                        </a:rPr>
                        <a:t>[hoog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8671949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8"/>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Rotterdam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2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9"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10"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1"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765812" y="4490863"/>
            <a:ext cx="418002" cy="396000"/>
          </a:xfrm>
          <a:prstGeom prst="rect">
            <a:avLst/>
          </a:prstGeom>
        </p:spPr>
      </p:pic>
      <p:sp>
        <p:nvSpPr>
          <p:cNvPr id="37" name="Text Placeholder 5">
            <a:hlinkClick r:id="rId14"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4"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262184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23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77243139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9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7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1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1,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2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54,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81,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67,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Rotterdam is ca. 1.767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102755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26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47715138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59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60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4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17</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Rotterdam ca. 2.741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71"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3456162705"/>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Rotterdam</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644.618</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S-Gravenhage</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537.83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Amsterdam</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862.96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Utrecht</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52.86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Eindhov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1.64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7"/>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7"/>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314831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86"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283594879"/>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Rotterdam</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74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4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7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325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Rotterdam</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2"/>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86"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255776751"/>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234277955"/>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8.7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4.6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4.6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Rotterdam,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2"/>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533"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7"/>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8"/>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47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7">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8">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2"/>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58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2994</TotalTime>
  <Words>9905</Words>
  <Application>Microsoft Office PowerPoint</Application>
  <PresentationFormat>Widescreen</PresentationFormat>
  <Paragraphs>2308</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Rotterdam is ca. 1.767 mln (1/3)</vt:lpstr>
      <vt:lpstr>Totale uitkering voor Rotterdam is ca. 1.767 mln (2/3)</vt:lpstr>
      <vt:lpstr>Totale uitkering voor Rotterdam is ca. 1.767 mln (3/3)</vt:lpstr>
      <vt:lpstr>Per inwoner ontvangt Rotterdam ca. 2.741 euro</vt:lpstr>
      <vt:lpstr>Dit is ca. 325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Rotterdam is ca. 1.767 mln</vt:lpstr>
      <vt:lpstr>Per inwoner ontvangt Rotterdam ca. 2.741 euro</vt:lpstr>
      <vt:lpstr>Dit is ca. €325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Kees van der Meeren</cp:lastModifiedBy>
  <cp:revision>910</cp:revision>
  <cp:lastPrinted>2020-08-19T07:49:56Z</cp:lastPrinted>
  <dcterms:created xsi:type="dcterms:W3CDTF">2020-03-09T08:06:05Z</dcterms:created>
  <dcterms:modified xsi:type="dcterms:W3CDTF">2020-10-28T07:57:25Z</dcterms:modified>
</cp:coreProperties>
</file>